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2"/>
  </p:notesMasterIdLst>
  <p:handoutMasterIdLst>
    <p:handoutMasterId r:id="rId33"/>
  </p:handoutMasterIdLst>
  <p:sldIdLst>
    <p:sldId id="256" r:id="rId5"/>
    <p:sldId id="364" r:id="rId6"/>
    <p:sldId id="462" r:id="rId7"/>
    <p:sldId id="463" r:id="rId8"/>
    <p:sldId id="406" r:id="rId9"/>
    <p:sldId id="955" r:id="rId10"/>
    <p:sldId id="956" r:id="rId11"/>
    <p:sldId id="473" r:id="rId12"/>
    <p:sldId id="464" r:id="rId13"/>
    <p:sldId id="958" r:id="rId14"/>
    <p:sldId id="964" r:id="rId15"/>
    <p:sldId id="506" r:id="rId16"/>
    <p:sldId id="511" r:id="rId17"/>
    <p:sldId id="512" r:id="rId18"/>
    <p:sldId id="465" r:id="rId19"/>
    <p:sldId id="474" r:id="rId20"/>
    <p:sldId id="476" r:id="rId21"/>
    <p:sldId id="961" r:id="rId22"/>
    <p:sldId id="472" r:id="rId23"/>
    <p:sldId id="963" r:id="rId24"/>
    <p:sldId id="477" r:id="rId25"/>
    <p:sldId id="466" r:id="rId26"/>
    <p:sldId id="962" r:id="rId27"/>
    <p:sldId id="468" r:id="rId28"/>
    <p:sldId id="959" r:id="rId29"/>
    <p:sldId id="367" r:id="rId30"/>
    <p:sldId id="326" r:id="rId31"/>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SET" id="{998E592A-A369-4C32-9F74-88685776F2E7}">
          <p14:sldIdLst>
            <p14:sldId id="256"/>
            <p14:sldId id="364"/>
            <p14:sldId id="462"/>
            <p14:sldId id="463"/>
            <p14:sldId id="406"/>
            <p14:sldId id="955"/>
            <p14:sldId id="956"/>
            <p14:sldId id="473"/>
            <p14:sldId id="464"/>
            <p14:sldId id="958"/>
            <p14:sldId id="964"/>
            <p14:sldId id="506"/>
            <p14:sldId id="511"/>
            <p14:sldId id="512"/>
            <p14:sldId id="465"/>
            <p14:sldId id="474"/>
            <p14:sldId id="476"/>
            <p14:sldId id="961"/>
            <p14:sldId id="472"/>
            <p14:sldId id="963"/>
            <p14:sldId id="477"/>
            <p14:sldId id="466"/>
            <p14:sldId id="962"/>
            <p14:sldId id="468"/>
            <p14:sldId id="959"/>
            <p14:sldId id="367"/>
            <p14:sldId id="326"/>
          </p14:sldIdLst>
        </p14:section>
      </p14:sectionLst>
    </p:ext>
    <p:ext uri="{EFAFB233-063F-42B5-8137-9DF3F51BA10A}">
      <p15:sldGuideLst xmlns:p15="http://schemas.microsoft.com/office/powerpoint/2012/main">
        <p15:guide id="1" pos="3840" userDrawn="1">
          <p15:clr>
            <a:srgbClr val="A4A3A4"/>
          </p15:clr>
        </p15:guide>
        <p15:guide id="3" orient="horz" pos="209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iana van den Berg" initials="DvdB" lastIdx="32" clrIdx="0">
    <p:extLst>
      <p:ext uri="{19B8F6BF-5375-455C-9EA6-DF929625EA0E}">
        <p15:presenceInfo xmlns:p15="http://schemas.microsoft.com/office/powerpoint/2012/main" userId="S::diana@pptsolutions.nl::23f41a6e-e258-490e-836a-3bfeb97dfcde" providerId="AD"/>
      </p:ext>
    </p:extLst>
  </p:cmAuthor>
  <p:cmAuthor id="2" name="Marlies Bredie" initials="MB" lastIdx="27" clrIdx="1">
    <p:extLst>
      <p:ext uri="{19B8F6BF-5375-455C-9EA6-DF929625EA0E}">
        <p15:presenceInfo xmlns:p15="http://schemas.microsoft.com/office/powerpoint/2012/main" userId="S::marlies@pptsolutions.nl::f210dbe7-1aa1-4d9f-a0f7-395e4e5eb9e3" providerId="AD"/>
      </p:ext>
    </p:extLst>
  </p:cmAuthor>
  <p:cmAuthor id="3" name="Daniël Stals" initials="DS" lastIdx="1" clrIdx="2">
    <p:extLst>
      <p:ext uri="{19B8F6BF-5375-455C-9EA6-DF929625EA0E}">
        <p15:presenceInfo xmlns:p15="http://schemas.microsoft.com/office/powerpoint/2012/main" userId="S::daniel@slidebuilder.com::7fbd95c0-914a-4e40-ab72-bf8a89aaf74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4C8"/>
    <a:srgbClr val="B9FFDB"/>
    <a:srgbClr val="C1E6FF"/>
    <a:srgbClr val="D5ECDD"/>
    <a:srgbClr val="D1E4F2"/>
    <a:srgbClr val="FDF8DA"/>
    <a:srgbClr val="FCE4D4"/>
    <a:srgbClr val="F19153"/>
    <a:srgbClr val="FAD6D8"/>
    <a:srgbClr val="E5D4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021470-CDA4-838D-10AC-E7B6CB7528C3}" v="383" dt="2025-05-19T08:59:23.56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7"/>
    <p:restoredTop sz="94632"/>
  </p:normalViewPr>
  <p:slideViewPr>
    <p:cSldViewPr snapToGrid="0">
      <p:cViewPr varScale="1">
        <p:scale>
          <a:sx n="111" d="100"/>
          <a:sy n="111" d="100"/>
        </p:scale>
        <p:origin x="872" y="208"/>
      </p:cViewPr>
      <p:guideLst>
        <p:guide pos="3840"/>
        <p:guide orient="horz" pos="2092"/>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C6682D7B-E977-D2B3-52AE-81B99D59B46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a:extLst>
              <a:ext uri="{FF2B5EF4-FFF2-40B4-BE49-F238E27FC236}">
                <a16:creationId xmlns:a16="http://schemas.microsoft.com/office/drawing/2014/main" id="{B8CB1A5D-217A-BD6B-BE79-B5803F5CC0D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09DBE62-0621-40F8-AD4B-A851F57CE9B8}" type="datetimeFigureOut">
              <a:rPr lang="nl-NL" smtClean="0"/>
              <a:t>03-06-2025</a:t>
            </a:fld>
            <a:endParaRPr lang="nl-NL"/>
          </a:p>
        </p:txBody>
      </p:sp>
      <p:sp>
        <p:nvSpPr>
          <p:cNvPr id="4" name="Tijdelijke aanduiding voor voettekst 3">
            <a:extLst>
              <a:ext uri="{FF2B5EF4-FFF2-40B4-BE49-F238E27FC236}">
                <a16:creationId xmlns:a16="http://schemas.microsoft.com/office/drawing/2014/main" id="{64F7D2B9-83A9-5F50-E05C-1C6BC228B05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a:extLst>
              <a:ext uri="{FF2B5EF4-FFF2-40B4-BE49-F238E27FC236}">
                <a16:creationId xmlns:a16="http://schemas.microsoft.com/office/drawing/2014/main" id="{2C4EED98-30D5-911C-8F35-B346B9B6D9D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6F30C33-FC72-4337-88DA-960C578D23EA}" type="slidenum">
              <a:rPr lang="nl-NL" smtClean="0"/>
              <a:t>‹#›</a:t>
            </a:fld>
            <a:endParaRPr lang="nl-NL"/>
          </a:p>
        </p:txBody>
      </p:sp>
    </p:spTree>
    <p:extLst>
      <p:ext uri="{BB962C8B-B14F-4D97-AF65-F5344CB8AC3E}">
        <p14:creationId xmlns:p14="http://schemas.microsoft.com/office/powerpoint/2010/main" val="33699389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790A07-196B-4F4B-8E8C-301FB387CBE5}" type="datetimeFigureOut">
              <a:rPr lang="nl-NL" smtClean="0"/>
              <a:t>03-06-2025</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C176B4-2F3E-4542-A88B-B482618D0CAA}" type="slidenum">
              <a:rPr lang="nl-NL" smtClean="0"/>
              <a:t>‹#›</a:t>
            </a:fld>
            <a:endParaRPr lang="nl-NL"/>
          </a:p>
        </p:txBody>
      </p:sp>
    </p:spTree>
    <p:extLst>
      <p:ext uri="{BB962C8B-B14F-4D97-AF65-F5344CB8AC3E}">
        <p14:creationId xmlns:p14="http://schemas.microsoft.com/office/powerpoint/2010/main" val="40177926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a:t>
            </a:fld>
            <a:endParaRPr lang="nl-NL"/>
          </a:p>
        </p:txBody>
      </p:sp>
    </p:spTree>
    <p:extLst>
      <p:ext uri="{BB962C8B-B14F-4D97-AF65-F5344CB8AC3E}">
        <p14:creationId xmlns:p14="http://schemas.microsoft.com/office/powerpoint/2010/main" val="38062735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4A923E-E1C9-4BE7-53B2-9667C915F831}"/>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9E08E70D-FA00-8B63-3DC5-3DD186D503DD}"/>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C64069F4-4A2C-AAAC-853F-128A51F0DF1F}"/>
              </a:ext>
            </a:extLst>
          </p:cNvPr>
          <p:cNvSpPr>
            <a:spLocks noGrp="1"/>
          </p:cNvSpPr>
          <p:nvPr>
            <p:ph type="body" idx="1"/>
          </p:nvPr>
        </p:nvSpPr>
        <p:spPr/>
        <p:txBody>
          <a:bodyPr/>
          <a:lstStyle/>
          <a:p>
            <a:endParaRPr lang="en-GB"/>
          </a:p>
        </p:txBody>
      </p:sp>
      <p:sp>
        <p:nvSpPr>
          <p:cNvPr id="4" name="Tijdelijke aanduiding voor dianummer 3">
            <a:extLst>
              <a:ext uri="{FF2B5EF4-FFF2-40B4-BE49-F238E27FC236}">
                <a16:creationId xmlns:a16="http://schemas.microsoft.com/office/drawing/2014/main" id="{EF8AD3EF-9585-5228-3941-DCE9D35591C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176B4-2F3E-4542-A88B-B482618D0CAA}" type="slidenum">
              <a:rPr kumimoji="0" lang="nl-NL" sz="1200" b="0" i="0" u="none" strike="noStrike" kern="1200" cap="none" spc="0" normalizeH="0" baseline="0" noProof="0" smtClean="0">
                <a:ln>
                  <a:noFill/>
                </a:ln>
                <a:solidFill>
                  <a:prstClr val="black"/>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nl-NL" sz="12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166001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6</a:t>
            </a:fld>
            <a:endParaRPr lang="nl-NL"/>
          </a:p>
        </p:txBody>
      </p:sp>
    </p:spTree>
    <p:extLst>
      <p:ext uri="{BB962C8B-B14F-4D97-AF65-F5344CB8AC3E}">
        <p14:creationId xmlns:p14="http://schemas.microsoft.com/office/powerpoint/2010/main" val="5247462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176B4-2F3E-4542-A88B-B482618D0CAA}" type="slidenum">
              <a:rPr kumimoji="0" lang="nl-NL" sz="1200" b="0" i="0" u="none" strike="noStrike" kern="1200" cap="none" spc="0" normalizeH="0" baseline="0" noProof="0" smtClean="0">
                <a:ln>
                  <a:noFill/>
                </a:ln>
                <a:solidFill>
                  <a:prstClr val="black"/>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nl-NL" sz="12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41370200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a:t>
            </a:fld>
            <a:endParaRPr lang="nl-NL"/>
          </a:p>
        </p:txBody>
      </p:sp>
    </p:spTree>
    <p:extLst>
      <p:ext uri="{BB962C8B-B14F-4D97-AF65-F5344CB8AC3E}">
        <p14:creationId xmlns:p14="http://schemas.microsoft.com/office/powerpoint/2010/main" val="36149713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A3FA6C-BB2F-DC01-AD29-66E90E8B60BE}"/>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ADD79628-6259-0DD5-6AF9-FB11662930D8}"/>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A188D032-2B7C-2932-B22B-E4D6495A6698}"/>
              </a:ext>
            </a:extLst>
          </p:cNvPr>
          <p:cNvSpPr>
            <a:spLocks noGrp="1"/>
          </p:cNvSpPr>
          <p:nvPr>
            <p:ph type="body" idx="1"/>
          </p:nvPr>
        </p:nvSpPr>
        <p:spPr/>
        <p:txBody>
          <a:bodyPr/>
          <a:lstStyle/>
          <a:p>
            <a:endParaRPr lang="en-GB"/>
          </a:p>
        </p:txBody>
      </p:sp>
      <p:sp>
        <p:nvSpPr>
          <p:cNvPr id="4" name="Tijdelijke aanduiding voor dianummer 3">
            <a:extLst>
              <a:ext uri="{FF2B5EF4-FFF2-40B4-BE49-F238E27FC236}">
                <a16:creationId xmlns:a16="http://schemas.microsoft.com/office/drawing/2014/main" id="{85B65BB1-5617-7029-D780-B83219A62C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176B4-2F3E-4542-A88B-B482618D0CAA}" type="slidenum">
              <a:rPr kumimoji="0" lang="nl-NL" sz="1200" b="0" i="0" u="none" strike="noStrike" kern="1200" cap="none" spc="0" normalizeH="0" baseline="0" noProof="0" smtClean="0">
                <a:ln>
                  <a:noFill/>
                </a:ln>
                <a:solidFill>
                  <a:prstClr val="black"/>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l-NL" sz="12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26935926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53FE6F-D176-B75D-3104-5605E733790A}"/>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08C03F00-9854-2A92-6267-1B8563153B76}"/>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33BFF117-7F9E-0CBE-3459-6939FD291DA7}"/>
              </a:ext>
            </a:extLst>
          </p:cNvPr>
          <p:cNvSpPr>
            <a:spLocks noGrp="1"/>
          </p:cNvSpPr>
          <p:nvPr>
            <p:ph type="body" idx="1"/>
          </p:nvPr>
        </p:nvSpPr>
        <p:spPr/>
        <p:txBody>
          <a:bodyPr/>
          <a:lstStyle/>
          <a:p>
            <a:endParaRPr lang="en-GB"/>
          </a:p>
        </p:txBody>
      </p:sp>
      <p:sp>
        <p:nvSpPr>
          <p:cNvPr id="4" name="Tijdelijke aanduiding voor dianummer 3">
            <a:extLst>
              <a:ext uri="{FF2B5EF4-FFF2-40B4-BE49-F238E27FC236}">
                <a16:creationId xmlns:a16="http://schemas.microsoft.com/office/drawing/2014/main" id="{0C29759E-2565-E795-E93C-FA4D570F52E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176B4-2F3E-4542-A88B-B482618D0CAA}" type="slidenum">
              <a:rPr kumimoji="0" lang="nl-NL" sz="1200" b="0" i="0" u="none" strike="noStrike" kern="1200" cap="none" spc="0" normalizeH="0" baseline="0" noProof="0" smtClean="0">
                <a:ln>
                  <a:noFill/>
                </a:ln>
                <a:solidFill>
                  <a:prstClr val="black"/>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l-NL" sz="12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42127885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0F8BF1-ADD9-01D6-B6E5-410E9283E44D}"/>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F1D78BE9-8582-DBD6-85CA-1E562A6CB53B}"/>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4EB5E711-25FA-D24B-AF99-37785899C55D}"/>
              </a:ext>
            </a:extLst>
          </p:cNvPr>
          <p:cNvSpPr>
            <a:spLocks noGrp="1"/>
          </p:cNvSpPr>
          <p:nvPr>
            <p:ph type="body" idx="1"/>
          </p:nvPr>
        </p:nvSpPr>
        <p:spPr/>
        <p:txBody>
          <a:bodyPr/>
          <a:lstStyle/>
          <a:p>
            <a:endParaRPr lang="en-GB"/>
          </a:p>
        </p:txBody>
      </p:sp>
      <p:sp>
        <p:nvSpPr>
          <p:cNvPr id="4" name="Tijdelijke aanduiding voor dianummer 3">
            <a:extLst>
              <a:ext uri="{FF2B5EF4-FFF2-40B4-BE49-F238E27FC236}">
                <a16:creationId xmlns:a16="http://schemas.microsoft.com/office/drawing/2014/main" id="{F1F946B1-2C98-DA6C-F909-DF46E9D2590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176B4-2F3E-4542-A88B-B482618D0CAA}" type="slidenum">
              <a:rPr kumimoji="0" lang="nl-NL" sz="1200" b="0" i="0" u="none" strike="noStrike" kern="1200" cap="none" spc="0" normalizeH="0" baseline="0" noProof="0" smtClean="0">
                <a:ln>
                  <a:noFill/>
                </a:ln>
                <a:solidFill>
                  <a:prstClr val="black"/>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nl-NL" sz="12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20816656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2B8794-6640-EACE-F3B4-A600FFEE260C}"/>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EE1AA398-61E4-CBE9-0E4C-333AED6E138E}"/>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8064B6D2-D61E-A923-BBBB-96C30F1733E6}"/>
              </a:ext>
            </a:extLst>
          </p:cNvPr>
          <p:cNvSpPr>
            <a:spLocks noGrp="1"/>
          </p:cNvSpPr>
          <p:nvPr>
            <p:ph type="body" idx="1"/>
          </p:nvPr>
        </p:nvSpPr>
        <p:spPr/>
        <p:txBody>
          <a:bodyPr/>
          <a:lstStyle/>
          <a:p>
            <a:endParaRPr lang="en-GB"/>
          </a:p>
        </p:txBody>
      </p:sp>
      <p:sp>
        <p:nvSpPr>
          <p:cNvPr id="4" name="Tijdelijke aanduiding voor dianummer 3">
            <a:extLst>
              <a:ext uri="{FF2B5EF4-FFF2-40B4-BE49-F238E27FC236}">
                <a16:creationId xmlns:a16="http://schemas.microsoft.com/office/drawing/2014/main" id="{BBD13AB3-8320-79B7-2A37-8203002F64B8}"/>
              </a:ext>
            </a:extLst>
          </p:cNvPr>
          <p:cNvSpPr>
            <a:spLocks noGrp="1"/>
          </p:cNvSpPr>
          <p:nvPr>
            <p:ph type="sldNum" sz="quarter" idx="5"/>
          </p:nvPr>
        </p:nvSpPr>
        <p:spPr/>
        <p:txBody>
          <a:bodyPr/>
          <a:lstStyle/>
          <a:p>
            <a:fld id="{48C176B4-2F3E-4542-A88B-B482618D0CAA}" type="slidenum">
              <a:rPr lang="nl-NL" smtClean="0"/>
              <a:t>16</a:t>
            </a:fld>
            <a:endParaRPr lang="nl-NL"/>
          </a:p>
        </p:txBody>
      </p:sp>
    </p:spTree>
    <p:extLst>
      <p:ext uri="{BB962C8B-B14F-4D97-AF65-F5344CB8AC3E}">
        <p14:creationId xmlns:p14="http://schemas.microsoft.com/office/powerpoint/2010/main" val="20129381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700C18-525B-2EDA-01A1-81232D01AA80}"/>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AC4A370A-E0E1-1D08-67B1-0D113545B584}"/>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1114E355-9176-9EED-E5F0-0DCEE65A0930}"/>
              </a:ext>
            </a:extLst>
          </p:cNvPr>
          <p:cNvSpPr>
            <a:spLocks noGrp="1"/>
          </p:cNvSpPr>
          <p:nvPr>
            <p:ph type="body" idx="1"/>
          </p:nvPr>
        </p:nvSpPr>
        <p:spPr/>
        <p:txBody>
          <a:bodyPr/>
          <a:lstStyle/>
          <a:p>
            <a:endParaRPr lang="en-GB"/>
          </a:p>
        </p:txBody>
      </p:sp>
      <p:sp>
        <p:nvSpPr>
          <p:cNvPr id="4" name="Tijdelijke aanduiding voor dianummer 3">
            <a:extLst>
              <a:ext uri="{FF2B5EF4-FFF2-40B4-BE49-F238E27FC236}">
                <a16:creationId xmlns:a16="http://schemas.microsoft.com/office/drawing/2014/main" id="{39CAA5CA-CE42-7746-2BAB-A9771EE47A72}"/>
              </a:ext>
            </a:extLst>
          </p:cNvPr>
          <p:cNvSpPr>
            <a:spLocks noGrp="1"/>
          </p:cNvSpPr>
          <p:nvPr>
            <p:ph type="sldNum" sz="quarter" idx="5"/>
          </p:nvPr>
        </p:nvSpPr>
        <p:spPr/>
        <p:txBody>
          <a:bodyPr/>
          <a:lstStyle/>
          <a:p>
            <a:fld id="{48C176B4-2F3E-4542-A88B-B482618D0CAA}" type="slidenum">
              <a:rPr lang="nl-NL" smtClean="0"/>
              <a:t>17</a:t>
            </a:fld>
            <a:endParaRPr lang="nl-NL"/>
          </a:p>
        </p:txBody>
      </p:sp>
    </p:spTree>
    <p:extLst>
      <p:ext uri="{BB962C8B-B14F-4D97-AF65-F5344CB8AC3E}">
        <p14:creationId xmlns:p14="http://schemas.microsoft.com/office/powerpoint/2010/main" val="13515504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3C8187-E27A-09E7-24BA-379FE3240DC0}"/>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8BD91434-62B4-88F9-4D39-AF2079281325}"/>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A288E04E-5582-30A6-8A20-DC1EF4ACA826}"/>
              </a:ext>
            </a:extLst>
          </p:cNvPr>
          <p:cNvSpPr>
            <a:spLocks noGrp="1"/>
          </p:cNvSpPr>
          <p:nvPr>
            <p:ph type="body" idx="1"/>
          </p:nvPr>
        </p:nvSpPr>
        <p:spPr/>
        <p:txBody>
          <a:bodyPr/>
          <a:lstStyle/>
          <a:p>
            <a:endParaRPr lang="en-GB"/>
          </a:p>
        </p:txBody>
      </p:sp>
      <p:sp>
        <p:nvSpPr>
          <p:cNvPr id="4" name="Tijdelijke aanduiding voor dianummer 3">
            <a:extLst>
              <a:ext uri="{FF2B5EF4-FFF2-40B4-BE49-F238E27FC236}">
                <a16:creationId xmlns:a16="http://schemas.microsoft.com/office/drawing/2014/main" id="{D36B66D5-03F3-53AF-0FE1-1AC6D068A10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176B4-2F3E-4542-A88B-B482618D0CAA}" type="slidenum">
              <a:rPr kumimoji="0" lang="nl-NL" sz="1200" b="0" i="0" u="none" strike="noStrike" kern="1200" cap="none" spc="0" normalizeH="0" baseline="0" noProof="0" smtClean="0">
                <a:ln>
                  <a:noFill/>
                </a:ln>
                <a:solidFill>
                  <a:prstClr val="black"/>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nl-NL" sz="12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2605565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2747E8-6407-F607-F104-1A12C4AA454F}"/>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9B7571E3-5D8B-4F46-A247-6D3770152C6B}"/>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906CE557-6964-E120-C724-05F944B519E5}"/>
              </a:ext>
            </a:extLst>
          </p:cNvPr>
          <p:cNvSpPr>
            <a:spLocks noGrp="1"/>
          </p:cNvSpPr>
          <p:nvPr>
            <p:ph type="body" idx="1"/>
          </p:nvPr>
        </p:nvSpPr>
        <p:spPr/>
        <p:txBody>
          <a:bodyPr/>
          <a:lstStyle/>
          <a:p>
            <a:endParaRPr lang="en-GB"/>
          </a:p>
        </p:txBody>
      </p:sp>
      <p:sp>
        <p:nvSpPr>
          <p:cNvPr id="4" name="Tijdelijke aanduiding voor dianummer 3">
            <a:extLst>
              <a:ext uri="{FF2B5EF4-FFF2-40B4-BE49-F238E27FC236}">
                <a16:creationId xmlns:a16="http://schemas.microsoft.com/office/drawing/2014/main" id="{E9BCB75C-5DC8-C4AD-C19D-AA79BE9D966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176B4-2F3E-4542-A88B-B482618D0CAA}" type="slidenum">
              <a:rPr kumimoji="0" lang="nl-NL" sz="1200" b="0" i="0" u="none" strike="noStrike" kern="1200" cap="none" spc="0" normalizeH="0" baseline="0" noProof="0" smtClean="0">
                <a:ln>
                  <a:noFill/>
                </a:ln>
                <a:solidFill>
                  <a:prstClr val="black"/>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nl-NL" sz="12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4811962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angepaste indeling - ZI">
    <p:bg>
      <p:bgPr>
        <a:solidFill>
          <a:schemeClr val="bg1"/>
        </a:solidFill>
        <a:effectLst/>
      </p:bgPr>
    </p:bg>
    <p:spTree>
      <p:nvGrpSpPr>
        <p:cNvPr id="1" name=""/>
        <p:cNvGrpSpPr/>
        <p:nvPr/>
      </p:nvGrpSpPr>
      <p:grpSpPr>
        <a:xfrm>
          <a:off x="0" y="0"/>
          <a:ext cx="0" cy="0"/>
          <a:chOff x="0" y="0"/>
          <a:chExt cx="0" cy="0"/>
        </a:xfrm>
      </p:grpSpPr>
      <p:sp>
        <p:nvSpPr>
          <p:cNvPr id="6" name="Tijdelijke aanduiding voor titel 1">
            <a:extLst>
              <a:ext uri="{FF2B5EF4-FFF2-40B4-BE49-F238E27FC236}">
                <a16:creationId xmlns:a16="http://schemas.microsoft.com/office/drawing/2014/main" id="{809A55DC-AA1C-3E07-8B14-81A5F5F8A444}"/>
              </a:ext>
            </a:extLst>
          </p:cNvPr>
          <p:cNvSpPr txBox="1">
            <a:spLocks/>
          </p:cNvSpPr>
          <p:nvPr userDrawn="1"/>
        </p:nvSpPr>
        <p:spPr>
          <a:xfrm>
            <a:off x="0" y="-367937"/>
            <a:ext cx="2086708" cy="342211"/>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1600" b="1" kern="1200">
                <a:solidFill>
                  <a:schemeClr val="accent1"/>
                </a:solidFill>
                <a:latin typeface="+mj-lt"/>
                <a:ea typeface="+mj-ea"/>
                <a:cs typeface="+mj-cs"/>
              </a:defRPr>
            </a:lvl1pPr>
          </a:lstStyle>
          <a:p>
            <a:r>
              <a:rPr lang="en-GB"/>
              <a:t>Title slide #3</a:t>
            </a:r>
          </a:p>
        </p:txBody>
      </p:sp>
      <p:sp>
        <p:nvSpPr>
          <p:cNvPr id="8" name="Ondertitel 2">
            <a:extLst>
              <a:ext uri="{FF2B5EF4-FFF2-40B4-BE49-F238E27FC236}">
                <a16:creationId xmlns:a16="http://schemas.microsoft.com/office/drawing/2014/main" id="{8DB13761-E528-E6EE-A6FC-CE7E5E4690F0}"/>
              </a:ext>
            </a:extLst>
          </p:cNvPr>
          <p:cNvSpPr>
            <a:spLocks noGrp="1"/>
          </p:cNvSpPr>
          <p:nvPr>
            <p:ph type="subTitle" idx="1" hasCustomPrompt="1"/>
          </p:nvPr>
        </p:nvSpPr>
        <p:spPr>
          <a:xfrm>
            <a:off x="718947" y="2589187"/>
            <a:ext cx="3472053" cy="342211"/>
          </a:xfrm>
        </p:spPr>
        <p:txBody>
          <a:bodyPr anchor="b"/>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 of speaker here</a:t>
            </a:r>
          </a:p>
        </p:txBody>
      </p:sp>
      <p:sp>
        <p:nvSpPr>
          <p:cNvPr id="9" name="Tijdelijke aanduiding voor datum 3">
            <a:extLst>
              <a:ext uri="{FF2B5EF4-FFF2-40B4-BE49-F238E27FC236}">
                <a16:creationId xmlns:a16="http://schemas.microsoft.com/office/drawing/2014/main" id="{FDDB9DE4-EE0C-640F-963A-BADD6CE5209D}"/>
              </a:ext>
            </a:extLst>
          </p:cNvPr>
          <p:cNvSpPr>
            <a:spLocks noGrp="1"/>
          </p:cNvSpPr>
          <p:nvPr>
            <p:ph type="dt" sz="half" idx="2"/>
          </p:nvPr>
        </p:nvSpPr>
        <p:spPr>
          <a:xfrm>
            <a:off x="718947" y="3002633"/>
            <a:ext cx="2409331" cy="166942"/>
          </a:xfrm>
          <a:prstGeom prst="rect">
            <a:avLst/>
          </a:prstGeom>
        </p:spPr>
        <p:txBody>
          <a:bodyPr vert="horz" lIns="0" tIns="0" rIns="0" bIns="0" rtlCol="0" anchor="ctr">
            <a:noAutofit/>
          </a:bodyPr>
          <a:lstStyle>
            <a:lvl1pPr algn="l">
              <a:defRPr sz="1200">
                <a:solidFill>
                  <a:schemeClr val="tx1"/>
                </a:solidFill>
              </a:defRPr>
            </a:lvl1pPr>
          </a:lstStyle>
          <a:p>
            <a:fld id="{CF97DA82-84C5-4972-A41D-D2D51EA09891}" type="datetime3">
              <a:rPr lang="en-GB" smtClean="0"/>
              <a:pPr/>
              <a:t>3 June, 2025</a:t>
            </a:fld>
            <a:endParaRPr lang="en-GB"/>
          </a:p>
        </p:txBody>
      </p:sp>
      <p:sp>
        <p:nvSpPr>
          <p:cNvPr id="10" name="Tijdelijke aanduiding voor tekst 8">
            <a:extLst>
              <a:ext uri="{FF2B5EF4-FFF2-40B4-BE49-F238E27FC236}">
                <a16:creationId xmlns:a16="http://schemas.microsoft.com/office/drawing/2014/main" id="{7EEC8868-A337-D072-6DF6-53381DDE0634}"/>
              </a:ext>
            </a:extLst>
          </p:cNvPr>
          <p:cNvSpPr>
            <a:spLocks noGrp="1"/>
          </p:cNvSpPr>
          <p:nvPr>
            <p:ph type="body" sz="quarter" idx="19" hasCustomPrompt="1"/>
          </p:nvPr>
        </p:nvSpPr>
        <p:spPr>
          <a:xfrm>
            <a:off x="721633" y="786160"/>
            <a:ext cx="3786867" cy="1661402"/>
          </a:xfrm>
        </p:spPr>
        <p:txBody>
          <a:bodyPr anchor="ctr"/>
          <a:lstStyle>
            <a:lvl1pPr marL="0" indent="0">
              <a:buNone/>
              <a:defRPr sz="3600" b="1">
                <a:solidFill>
                  <a:schemeClr val="tx1"/>
                </a:solidFill>
                <a:latin typeface="+mj-lt"/>
              </a:defRPr>
            </a:lvl1pPr>
          </a:lstStyle>
          <a:p>
            <a:pPr lvl="0"/>
            <a:r>
              <a:rPr lang="en-US"/>
              <a:t>The title of the presentation can be placed here</a:t>
            </a:r>
          </a:p>
        </p:txBody>
      </p:sp>
      <p:sp>
        <p:nvSpPr>
          <p:cNvPr id="12" name="Tijdelijke aanduiding voor tekst 15">
            <a:extLst>
              <a:ext uri="{FF2B5EF4-FFF2-40B4-BE49-F238E27FC236}">
                <a16:creationId xmlns:a16="http://schemas.microsoft.com/office/drawing/2014/main" id="{BBD68CED-8AAF-EA33-2026-D09DEBE5FA81}"/>
              </a:ext>
            </a:extLst>
          </p:cNvPr>
          <p:cNvSpPr>
            <a:spLocks noGrp="1"/>
          </p:cNvSpPr>
          <p:nvPr>
            <p:ph type="body" sz="quarter" idx="18" hasCustomPrompt="1"/>
          </p:nvPr>
        </p:nvSpPr>
        <p:spPr>
          <a:xfrm>
            <a:off x="718947" y="5597251"/>
            <a:ext cx="1594247" cy="812512"/>
          </a:xfrm>
          <a:blipFill>
            <a:blip r:embed="rId2"/>
            <a:stretch>
              <a:fillRect/>
            </a:stretch>
          </a:blipFill>
        </p:spPr>
        <p:txBody>
          <a:bodyPr/>
          <a:lstStyle>
            <a:lvl1pPr marL="0" indent="0">
              <a:buNone/>
              <a:defRPr sz="100"/>
            </a:lvl1pPr>
          </a:lstStyle>
          <a:p>
            <a:pPr lvl="0"/>
            <a:r>
              <a:rPr lang="en-GB"/>
              <a:t> </a:t>
            </a:r>
          </a:p>
        </p:txBody>
      </p:sp>
      <p:sp>
        <p:nvSpPr>
          <p:cNvPr id="28" name="Tijdelijke aanduiding voor afbeelding 27">
            <a:extLst>
              <a:ext uri="{FF2B5EF4-FFF2-40B4-BE49-F238E27FC236}">
                <a16:creationId xmlns:a16="http://schemas.microsoft.com/office/drawing/2014/main" id="{CE01A23E-D6B8-CA7B-0388-A16045BAB678}"/>
              </a:ext>
            </a:extLst>
          </p:cNvPr>
          <p:cNvSpPr>
            <a:spLocks noGrp="1"/>
          </p:cNvSpPr>
          <p:nvPr>
            <p:ph type="pic" sz="quarter" idx="20" hasCustomPrompt="1"/>
          </p:nvPr>
        </p:nvSpPr>
        <p:spPr>
          <a:xfrm>
            <a:off x="5030510" y="786160"/>
            <a:ext cx="6870700" cy="4640351"/>
          </a:xfrm>
          <a:custGeom>
            <a:avLst/>
            <a:gdLst>
              <a:gd name="connsiteX0" fmla="*/ 1467044 w 5079872"/>
              <a:gd name="connsiteY0" fmla="*/ 0 h 3430857"/>
              <a:gd name="connsiteX1" fmla="*/ 3472581 w 5079872"/>
              <a:gd name="connsiteY1" fmla="*/ 0 h 3430857"/>
              <a:gd name="connsiteX2" fmla="*/ 3684853 w 5079872"/>
              <a:gd name="connsiteY2" fmla="*/ 212272 h 3430857"/>
              <a:gd name="connsiteX3" fmla="*/ 3684853 w 5079872"/>
              <a:gd name="connsiteY3" fmla="*/ 1368393 h 3430857"/>
              <a:gd name="connsiteX4" fmla="*/ 4275134 w 5079872"/>
              <a:gd name="connsiteY4" fmla="*/ 1368393 h 3430857"/>
              <a:gd name="connsiteX5" fmla="*/ 4275134 w 5079872"/>
              <a:gd name="connsiteY5" fmla="*/ 1368149 h 3430857"/>
              <a:gd name="connsiteX6" fmla="*/ 4364407 w 5079872"/>
              <a:gd name="connsiteY6" fmla="*/ 1368149 h 3430857"/>
              <a:gd name="connsiteX7" fmla="*/ 4460889 w 5079872"/>
              <a:gd name="connsiteY7" fmla="*/ 1304196 h 3430857"/>
              <a:gd name="connsiteX8" fmla="*/ 4468627 w 5079872"/>
              <a:gd name="connsiteY8" fmla="*/ 1265870 h 3430857"/>
              <a:gd name="connsiteX9" fmla="*/ 4468627 w 5079872"/>
              <a:gd name="connsiteY9" fmla="*/ 1143803 h 3430857"/>
              <a:gd name="connsiteX10" fmla="*/ 4592933 w 5079872"/>
              <a:gd name="connsiteY10" fmla="*/ 1019497 h 3430857"/>
              <a:gd name="connsiteX11" fmla="*/ 4955566 w 5079872"/>
              <a:gd name="connsiteY11" fmla="*/ 1019497 h 3430857"/>
              <a:gd name="connsiteX12" fmla="*/ 5079872 w 5079872"/>
              <a:gd name="connsiteY12" fmla="*/ 1143803 h 3430857"/>
              <a:gd name="connsiteX13" fmla="*/ 5079872 w 5079872"/>
              <a:gd name="connsiteY13" fmla="*/ 1302203 h 3430857"/>
              <a:gd name="connsiteX14" fmla="*/ 4955566 w 5079872"/>
              <a:gd name="connsiteY14" fmla="*/ 1426509 h 3430857"/>
              <a:gd name="connsiteX15" fmla="*/ 4665893 w 5079872"/>
              <a:gd name="connsiteY15" fmla="*/ 1426509 h 3430857"/>
              <a:gd name="connsiteX16" fmla="*/ 4637471 w 5079872"/>
              <a:gd name="connsiteY16" fmla="*/ 1432247 h 3430857"/>
              <a:gd name="connsiteX17" fmla="*/ 4573518 w 5079872"/>
              <a:gd name="connsiteY17" fmla="*/ 1528730 h 3430857"/>
              <a:gd name="connsiteX18" fmla="*/ 4573518 w 5079872"/>
              <a:gd name="connsiteY18" fmla="*/ 1598461 h 3430857"/>
              <a:gd name="connsiteX19" fmla="*/ 4569461 w 5079872"/>
              <a:gd name="connsiteY19" fmla="*/ 1598461 h 3430857"/>
              <a:gd name="connsiteX20" fmla="*/ 4569461 w 5079872"/>
              <a:gd name="connsiteY20" fmla="*/ 2820808 h 3430857"/>
              <a:gd name="connsiteX21" fmla="*/ 4372154 w 5079872"/>
              <a:gd name="connsiteY21" fmla="*/ 3018115 h 3430857"/>
              <a:gd name="connsiteX22" fmla="*/ 3684853 w 5079872"/>
              <a:gd name="connsiteY22" fmla="*/ 3018115 h 3430857"/>
              <a:gd name="connsiteX23" fmla="*/ 3684853 w 5079872"/>
              <a:gd name="connsiteY23" fmla="*/ 3218585 h 3430857"/>
              <a:gd name="connsiteX24" fmla="*/ 3472581 w 5079872"/>
              <a:gd name="connsiteY24" fmla="*/ 3430857 h 3430857"/>
              <a:gd name="connsiteX25" fmla="*/ 1467044 w 5079872"/>
              <a:gd name="connsiteY25" fmla="*/ 3430857 h 3430857"/>
              <a:gd name="connsiteX26" fmla="*/ 1254772 w 5079872"/>
              <a:gd name="connsiteY26" fmla="*/ 3218585 h 3430857"/>
              <a:gd name="connsiteX27" fmla="*/ 1254772 w 5079872"/>
              <a:gd name="connsiteY27" fmla="*/ 2481848 h 3430857"/>
              <a:gd name="connsiteX28" fmla="*/ 212272 w 5079872"/>
              <a:gd name="connsiteY28" fmla="*/ 2481848 h 3430857"/>
              <a:gd name="connsiteX29" fmla="*/ 0 w 5079872"/>
              <a:gd name="connsiteY29" fmla="*/ 2269576 h 3430857"/>
              <a:gd name="connsiteX30" fmla="*/ 0 w 5079872"/>
              <a:gd name="connsiteY30" fmla="*/ 919267 h 3430857"/>
              <a:gd name="connsiteX31" fmla="*/ 212272 w 5079872"/>
              <a:gd name="connsiteY31" fmla="*/ 706995 h 3430857"/>
              <a:gd name="connsiteX32" fmla="*/ 1254772 w 5079872"/>
              <a:gd name="connsiteY32" fmla="*/ 706995 h 3430857"/>
              <a:gd name="connsiteX33" fmla="*/ 1254772 w 5079872"/>
              <a:gd name="connsiteY33" fmla="*/ 212272 h 3430857"/>
              <a:gd name="connsiteX34" fmla="*/ 1467044 w 5079872"/>
              <a:gd name="connsiteY34" fmla="*/ 0 h 343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079872" h="3430857">
                <a:moveTo>
                  <a:pt x="1467044" y="0"/>
                </a:moveTo>
                <a:lnTo>
                  <a:pt x="3472581" y="0"/>
                </a:lnTo>
                <a:cubicBezTo>
                  <a:pt x="3589816" y="0"/>
                  <a:pt x="3684853" y="95037"/>
                  <a:pt x="3684853" y="212272"/>
                </a:cubicBezTo>
                <a:lnTo>
                  <a:pt x="3684853" y="1368393"/>
                </a:lnTo>
                <a:lnTo>
                  <a:pt x="4275134" y="1368393"/>
                </a:lnTo>
                <a:lnTo>
                  <a:pt x="4275134" y="1368149"/>
                </a:lnTo>
                <a:lnTo>
                  <a:pt x="4364407" y="1368149"/>
                </a:lnTo>
                <a:cubicBezTo>
                  <a:pt x="4407780" y="1368149"/>
                  <a:pt x="4444994" y="1341779"/>
                  <a:pt x="4460889" y="1304196"/>
                </a:cubicBezTo>
                <a:lnTo>
                  <a:pt x="4468627" y="1265870"/>
                </a:lnTo>
                <a:lnTo>
                  <a:pt x="4468627" y="1143803"/>
                </a:lnTo>
                <a:cubicBezTo>
                  <a:pt x="4468627" y="1075151"/>
                  <a:pt x="4524281" y="1019497"/>
                  <a:pt x="4592933" y="1019497"/>
                </a:cubicBezTo>
                <a:lnTo>
                  <a:pt x="4955566" y="1019497"/>
                </a:lnTo>
                <a:cubicBezTo>
                  <a:pt x="5024218" y="1019497"/>
                  <a:pt x="5079872" y="1075151"/>
                  <a:pt x="5079872" y="1143803"/>
                </a:cubicBezTo>
                <a:lnTo>
                  <a:pt x="5079872" y="1302203"/>
                </a:lnTo>
                <a:cubicBezTo>
                  <a:pt x="5079872" y="1370855"/>
                  <a:pt x="5024218" y="1426509"/>
                  <a:pt x="4955566" y="1426509"/>
                </a:cubicBezTo>
                <a:lnTo>
                  <a:pt x="4665893" y="1426509"/>
                </a:lnTo>
                <a:lnTo>
                  <a:pt x="4637471" y="1432247"/>
                </a:lnTo>
                <a:cubicBezTo>
                  <a:pt x="4599889" y="1448143"/>
                  <a:pt x="4573518" y="1485357"/>
                  <a:pt x="4573518" y="1528730"/>
                </a:cubicBezTo>
                <a:lnTo>
                  <a:pt x="4573518" y="1598461"/>
                </a:lnTo>
                <a:lnTo>
                  <a:pt x="4569461" y="1598461"/>
                </a:lnTo>
                <a:lnTo>
                  <a:pt x="4569461" y="2820808"/>
                </a:lnTo>
                <a:cubicBezTo>
                  <a:pt x="4569461" y="2929778"/>
                  <a:pt x="4481124" y="3018115"/>
                  <a:pt x="4372154" y="3018115"/>
                </a:cubicBezTo>
                <a:lnTo>
                  <a:pt x="3684853" y="3018115"/>
                </a:lnTo>
                <a:lnTo>
                  <a:pt x="3684853" y="3218585"/>
                </a:lnTo>
                <a:cubicBezTo>
                  <a:pt x="3684853" y="3335820"/>
                  <a:pt x="3589816" y="3430857"/>
                  <a:pt x="3472581" y="3430857"/>
                </a:cubicBezTo>
                <a:lnTo>
                  <a:pt x="1467044" y="3430857"/>
                </a:lnTo>
                <a:cubicBezTo>
                  <a:pt x="1349809" y="3430857"/>
                  <a:pt x="1254772" y="3335820"/>
                  <a:pt x="1254772" y="3218585"/>
                </a:cubicBezTo>
                <a:lnTo>
                  <a:pt x="1254772" y="2481848"/>
                </a:lnTo>
                <a:lnTo>
                  <a:pt x="212272" y="2481848"/>
                </a:lnTo>
                <a:cubicBezTo>
                  <a:pt x="95037" y="2481848"/>
                  <a:pt x="0" y="2386811"/>
                  <a:pt x="0" y="2269576"/>
                </a:cubicBezTo>
                <a:lnTo>
                  <a:pt x="0" y="919267"/>
                </a:lnTo>
                <a:cubicBezTo>
                  <a:pt x="0" y="802032"/>
                  <a:pt x="95037" y="706995"/>
                  <a:pt x="212272" y="706995"/>
                </a:cubicBezTo>
                <a:lnTo>
                  <a:pt x="1254772" y="706995"/>
                </a:lnTo>
                <a:lnTo>
                  <a:pt x="1254772" y="212272"/>
                </a:lnTo>
                <a:cubicBezTo>
                  <a:pt x="1254772" y="95037"/>
                  <a:pt x="1349809" y="0"/>
                  <a:pt x="1467044" y="0"/>
                </a:cubicBezTo>
                <a:close/>
              </a:path>
            </a:pathLst>
          </a:custGeom>
          <a:solidFill>
            <a:schemeClr val="bg1">
              <a:lumMod val="95000"/>
            </a:schemeClr>
          </a:solidFill>
        </p:spPr>
        <p:txBody>
          <a:bodyPr wrap="square">
            <a:noAutofit/>
          </a:bodyPr>
          <a:lstStyle>
            <a:lvl1pPr marL="0" indent="0">
              <a:buNone/>
              <a:defRPr/>
            </a:lvl1pPr>
          </a:lstStyle>
          <a:p>
            <a:r>
              <a:rPr lang="nl-NL"/>
              <a:t> </a:t>
            </a:r>
          </a:p>
        </p:txBody>
      </p:sp>
      <p:sp>
        <p:nvSpPr>
          <p:cNvPr id="34" name="Tijdelijke aanduiding voor tekst 33">
            <a:extLst>
              <a:ext uri="{FF2B5EF4-FFF2-40B4-BE49-F238E27FC236}">
                <a16:creationId xmlns:a16="http://schemas.microsoft.com/office/drawing/2014/main" id="{0229BCD2-4B05-F977-3CE3-3A4EB5C2C3C7}"/>
              </a:ext>
            </a:extLst>
          </p:cNvPr>
          <p:cNvSpPr>
            <a:spLocks noGrp="1"/>
          </p:cNvSpPr>
          <p:nvPr>
            <p:ph type="body" sz="quarter" idx="22" hasCustomPrompt="1"/>
          </p:nvPr>
        </p:nvSpPr>
        <p:spPr>
          <a:xfrm>
            <a:off x="6293522" y="1163197"/>
            <a:ext cx="938007" cy="1284365"/>
          </a:xfrm>
          <a:prstGeom prst="roundRect">
            <a:avLst>
              <a:gd name="adj" fmla="val 18021"/>
            </a:avLst>
          </a:prstGeom>
          <a:solidFill>
            <a:schemeClr val="accent3">
              <a:alpha val="75000"/>
            </a:schemeClr>
          </a:solidFill>
        </p:spPr>
        <p:txBody>
          <a:bodyPr wrap="square">
            <a:noAutofit/>
          </a:bodyPr>
          <a:lstStyle>
            <a:lvl1pPr marL="0" indent="0">
              <a:buNone/>
              <a:defRPr/>
            </a:lvl1pPr>
          </a:lstStyle>
          <a:p>
            <a:pPr lvl="0"/>
            <a:r>
              <a:rPr lang="nl-NL"/>
              <a:t> </a:t>
            </a:r>
          </a:p>
        </p:txBody>
      </p:sp>
      <p:sp>
        <p:nvSpPr>
          <p:cNvPr id="35" name="Tijdelijke aanduiding voor tekst 34">
            <a:extLst>
              <a:ext uri="{FF2B5EF4-FFF2-40B4-BE49-F238E27FC236}">
                <a16:creationId xmlns:a16="http://schemas.microsoft.com/office/drawing/2014/main" id="{5D58449C-5EE6-14AA-6909-4DCD7E63B124}"/>
              </a:ext>
            </a:extLst>
          </p:cNvPr>
          <p:cNvSpPr>
            <a:spLocks noGrp="1"/>
          </p:cNvSpPr>
          <p:nvPr>
            <p:ph type="body" sz="quarter" idx="23" hasCustomPrompt="1"/>
          </p:nvPr>
        </p:nvSpPr>
        <p:spPr>
          <a:xfrm>
            <a:off x="10662322" y="4142146"/>
            <a:ext cx="938007" cy="1929694"/>
          </a:xfrm>
          <a:prstGeom prst="roundRect">
            <a:avLst>
              <a:gd name="adj" fmla="val 18021"/>
            </a:avLst>
          </a:prstGeom>
          <a:solidFill>
            <a:srgbClr val="F5AD7E">
              <a:alpha val="75000"/>
            </a:srgbClr>
          </a:solidFill>
        </p:spPr>
        <p:txBody>
          <a:bodyPr wrap="square">
            <a:noAutofit/>
          </a:bodyPr>
          <a:lstStyle>
            <a:lvl1pPr marL="0" indent="0">
              <a:buNone/>
              <a:defRPr/>
            </a:lvl1pPr>
          </a:lstStyle>
          <a:p>
            <a:pPr lvl="0"/>
            <a:r>
              <a:rPr lang="nl-NL"/>
              <a:t> </a:t>
            </a:r>
          </a:p>
        </p:txBody>
      </p:sp>
      <p:sp>
        <p:nvSpPr>
          <p:cNvPr id="36" name="Tijdelijke aanduiding voor tekst 35">
            <a:extLst>
              <a:ext uri="{FF2B5EF4-FFF2-40B4-BE49-F238E27FC236}">
                <a16:creationId xmlns:a16="http://schemas.microsoft.com/office/drawing/2014/main" id="{8EE3C824-4997-DAA6-07F7-0616C6AE286D}"/>
              </a:ext>
            </a:extLst>
          </p:cNvPr>
          <p:cNvSpPr>
            <a:spLocks noGrp="1"/>
          </p:cNvSpPr>
          <p:nvPr>
            <p:ph type="body" sz="quarter" idx="24" hasCustomPrompt="1"/>
          </p:nvPr>
        </p:nvSpPr>
        <p:spPr>
          <a:xfrm rot="16200000">
            <a:off x="6109176" y="4559772"/>
            <a:ext cx="897219" cy="1616435"/>
          </a:xfrm>
          <a:prstGeom prst="roundRect">
            <a:avLst>
              <a:gd name="adj" fmla="val 18021"/>
            </a:avLst>
          </a:prstGeom>
          <a:solidFill>
            <a:schemeClr val="accent4">
              <a:alpha val="75000"/>
            </a:schemeClr>
          </a:solidFill>
        </p:spPr>
        <p:txBody>
          <a:bodyPr wrap="square">
            <a:noAutofit/>
          </a:bodyPr>
          <a:lstStyle>
            <a:lvl1pPr marL="0" indent="0">
              <a:buNone/>
              <a:defRPr/>
            </a:lvl1pPr>
          </a:lstStyle>
          <a:p>
            <a:pPr lvl="0"/>
            <a:r>
              <a:rPr lang="nl-NL"/>
              <a:t> </a:t>
            </a:r>
          </a:p>
        </p:txBody>
      </p:sp>
      <p:sp>
        <p:nvSpPr>
          <p:cNvPr id="37" name="Tijdelijke aanduiding voor tekst 57">
            <a:extLst>
              <a:ext uri="{FF2B5EF4-FFF2-40B4-BE49-F238E27FC236}">
                <a16:creationId xmlns:a16="http://schemas.microsoft.com/office/drawing/2014/main" id="{0CCA808C-E2BC-C898-DBCA-4705B97CF1D9}"/>
              </a:ext>
            </a:extLst>
          </p:cNvPr>
          <p:cNvSpPr>
            <a:spLocks noGrp="1"/>
          </p:cNvSpPr>
          <p:nvPr>
            <p:ph type="body" sz="quarter" idx="32" hasCustomPrompt="1"/>
          </p:nvPr>
        </p:nvSpPr>
        <p:spPr>
          <a:xfrm>
            <a:off x="6577077" y="568423"/>
            <a:ext cx="847721" cy="812512"/>
          </a:xfrm>
          <a:prstGeom prst="roundRect">
            <a:avLst>
              <a:gd name="adj" fmla="val 18246"/>
            </a:avLst>
          </a:prstGeom>
          <a:noFill/>
          <a:ln w="15875">
            <a:solidFill>
              <a:schemeClr val="bg2"/>
            </a:solidFill>
          </a:ln>
        </p:spPr>
        <p:txBody>
          <a:bodyPr/>
          <a:lstStyle>
            <a:lvl1pPr marL="0" indent="0">
              <a:buNone/>
              <a:defRPr/>
            </a:lvl1pPr>
          </a:lstStyle>
          <a:p>
            <a:pPr lvl="0"/>
            <a:r>
              <a:rPr lang="nl-NL"/>
              <a:t> </a:t>
            </a:r>
          </a:p>
        </p:txBody>
      </p:sp>
      <p:sp>
        <p:nvSpPr>
          <p:cNvPr id="38" name="Tijdelijke aanduiding voor tekst 57">
            <a:extLst>
              <a:ext uri="{FF2B5EF4-FFF2-40B4-BE49-F238E27FC236}">
                <a16:creationId xmlns:a16="http://schemas.microsoft.com/office/drawing/2014/main" id="{3B7A4FA5-386E-461C-F9AB-3049F1DAD62F}"/>
              </a:ext>
            </a:extLst>
          </p:cNvPr>
          <p:cNvSpPr>
            <a:spLocks noGrp="1"/>
          </p:cNvSpPr>
          <p:nvPr>
            <p:ph type="body" sz="quarter" idx="33" hasCustomPrompt="1"/>
          </p:nvPr>
        </p:nvSpPr>
        <p:spPr>
          <a:xfrm>
            <a:off x="4697477" y="3022744"/>
            <a:ext cx="847721" cy="812512"/>
          </a:xfrm>
          <a:prstGeom prst="roundRect">
            <a:avLst>
              <a:gd name="adj" fmla="val 18246"/>
            </a:avLst>
          </a:prstGeom>
          <a:noFill/>
          <a:ln w="15875">
            <a:solidFill>
              <a:schemeClr val="accent3"/>
            </a:solidFill>
          </a:ln>
        </p:spPr>
        <p:txBody>
          <a:bodyPr/>
          <a:lstStyle>
            <a:lvl1pPr marL="0" indent="0">
              <a:buNone/>
              <a:defRPr/>
            </a:lvl1pPr>
          </a:lstStyle>
          <a:p>
            <a:pPr lvl="0"/>
            <a:r>
              <a:rPr lang="nl-NL"/>
              <a:t> </a:t>
            </a:r>
          </a:p>
        </p:txBody>
      </p:sp>
      <p:sp>
        <p:nvSpPr>
          <p:cNvPr id="39" name="Tijdelijke aanduiding voor tekst 57">
            <a:extLst>
              <a:ext uri="{FF2B5EF4-FFF2-40B4-BE49-F238E27FC236}">
                <a16:creationId xmlns:a16="http://schemas.microsoft.com/office/drawing/2014/main" id="{9B97111E-C749-04EE-8813-6C69317285AB}"/>
              </a:ext>
            </a:extLst>
          </p:cNvPr>
          <p:cNvSpPr>
            <a:spLocks noGrp="1"/>
          </p:cNvSpPr>
          <p:nvPr>
            <p:ph type="body" sz="quarter" idx="34" hasCustomPrompt="1"/>
          </p:nvPr>
        </p:nvSpPr>
        <p:spPr>
          <a:xfrm>
            <a:off x="7040293" y="5199038"/>
            <a:ext cx="658744" cy="812512"/>
          </a:xfrm>
          <a:prstGeom prst="roundRect">
            <a:avLst>
              <a:gd name="adj" fmla="val 18246"/>
            </a:avLst>
          </a:prstGeom>
          <a:noFill/>
          <a:ln w="15875">
            <a:solidFill>
              <a:schemeClr val="bg2"/>
            </a:solidFill>
          </a:ln>
        </p:spPr>
        <p:txBody>
          <a:bodyPr/>
          <a:lstStyle>
            <a:lvl1pPr marL="0" indent="0">
              <a:buNone/>
              <a:defRPr/>
            </a:lvl1pPr>
          </a:lstStyle>
          <a:p>
            <a:pPr lvl="0"/>
            <a:r>
              <a:rPr lang="nl-NL"/>
              <a:t> </a:t>
            </a:r>
          </a:p>
        </p:txBody>
      </p:sp>
      <p:sp>
        <p:nvSpPr>
          <p:cNvPr id="40" name="Tijdelijke aanduiding voor tekst 57">
            <a:extLst>
              <a:ext uri="{FF2B5EF4-FFF2-40B4-BE49-F238E27FC236}">
                <a16:creationId xmlns:a16="http://schemas.microsoft.com/office/drawing/2014/main" id="{7A9BA711-C408-B0C0-28F2-C3CEA1FA12DC}"/>
              </a:ext>
            </a:extLst>
          </p:cNvPr>
          <p:cNvSpPr>
            <a:spLocks noGrp="1"/>
          </p:cNvSpPr>
          <p:nvPr>
            <p:ph type="body" sz="quarter" idx="35" hasCustomPrompt="1"/>
          </p:nvPr>
        </p:nvSpPr>
        <p:spPr>
          <a:xfrm>
            <a:off x="9656493" y="1930610"/>
            <a:ext cx="694008" cy="960570"/>
          </a:xfrm>
          <a:prstGeom prst="roundRect">
            <a:avLst>
              <a:gd name="adj" fmla="val 18246"/>
            </a:avLst>
          </a:prstGeom>
          <a:noFill/>
          <a:ln w="15875">
            <a:solidFill>
              <a:schemeClr val="bg2"/>
            </a:solidFill>
          </a:ln>
        </p:spPr>
        <p:txBody>
          <a:bodyPr/>
          <a:lstStyle>
            <a:lvl1pPr marL="0" indent="0">
              <a:buNone/>
              <a:defRPr/>
            </a:lvl1pPr>
          </a:lstStyle>
          <a:p>
            <a:pPr lvl="0"/>
            <a:r>
              <a:rPr lang="nl-NL"/>
              <a:t> </a:t>
            </a:r>
          </a:p>
        </p:txBody>
      </p:sp>
      <p:sp>
        <p:nvSpPr>
          <p:cNvPr id="42" name="Tijdelijke aanduiding voor tekst 41">
            <a:extLst>
              <a:ext uri="{FF2B5EF4-FFF2-40B4-BE49-F238E27FC236}">
                <a16:creationId xmlns:a16="http://schemas.microsoft.com/office/drawing/2014/main" id="{E7AFD3B6-53D8-431C-4C90-8E6C4D987C1D}"/>
              </a:ext>
            </a:extLst>
          </p:cNvPr>
          <p:cNvSpPr>
            <a:spLocks noGrp="1"/>
          </p:cNvSpPr>
          <p:nvPr>
            <p:ph type="body" sz="quarter" idx="37" hasCustomPrompt="1"/>
          </p:nvPr>
        </p:nvSpPr>
        <p:spPr>
          <a:xfrm>
            <a:off x="8971365" y="182947"/>
            <a:ext cx="1896881" cy="1206426"/>
          </a:xfrm>
          <a:custGeom>
            <a:avLst/>
            <a:gdLst>
              <a:gd name="connsiteX0" fmla="*/ 1496647 w 1896881"/>
              <a:gd name="connsiteY0" fmla="*/ 0 h 1206426"/>
              <a:gd name="connsiteX1" fmla="*/ 1763942 w 1896881"/>
              <a:gd name="connsiteY1" fmla="*/ 0 h 1206426"/>
              <a:gd name="connsiteX2" fmla="*/ 1896881 w 1896881"/>
              <a:gd name="connsiteY2" fmla="*/ 132939 h 1206426"/>
              <a:gd name="connsiteX3" fmla="*/ 1896881 w 1896881"/>
              <a:gd name="connsiteY3" fmla="*/ 241614 h 1206426"/>
              <a:gd name="connsiteX4" fmla="*/ 1763942 w 1896881"/>
              <a:gd name="connsiteY4" fmla="*/ 374554 h 1206426"/>
              <a:gd name="connsiteX5" fmla="*/ 1496647 w 1896881"/>
              <a:gd name="connsiteY5" fmla="*/ 374554 h 1206426"/>
              <a:gd name="connsiteX6" fmla="*/ 1490176 w 1896881"/>
              <a:gd name="connsiteY6" fmla="*/ 373248 h 1206426"/>
              <a:gd name="connsiteX7" fmla="*/ 1463822 w 1896881"/>
              <a:gd name="connsiteY7" fmla="*/ 378569 h 1206426"/>
              <a:gd name="connsiteX8" fmla="*/ 1382628 w 1896881"/>
              <a:gd name="connsiteY8" fmla="*/ 501060 h 1206426"/>
              <a:gd name="connsiteX9" fmla="*/ 1382628 w 1896881"/>
              <a:gd name="connsiteY9" fmla="*/ 555398 h 1206426"/>
              <a:gd name="connsiteX10" fmla="*/ 1380808 w 1896881"/>
              <a:gd name="connsiteY10" fmla="*/ 555398 h 1206426"/>
              <a:gd name="connsiteX11" fmla="*/ 1380808 w 1896881"/>
              <a:gd name="connsiteY11" fmla="*/ 1088113 h 1206426"/>
              <a:gd name="connsiteX12" fmla="*/ 1262494 w 1896881"/>
              <a:gd name="connsiteY12" fmla="*/ 1206426 h 1206426"/>
              <a:gd name="connsiteX13" fmla="*/ 118313 w 1896881"/>
              <a:gd name="connsiteY13" fmla="*/ 1206426 h 1206426"/>
              <a:gd name="connsiteX14" fmla="*/ 0 w 1896881"/>
              <a:gd name="connsiteY14" fmla="*/ 1088113 h 1206426"/>
              <a:gd name="connsiteX15" fmla="*/ 0 w 1896881"/>
              <a:gd name="connsiteY15" fmla="*/ 486940 h 1206426"/>
              <a:gd name="connsiteX16" fmla="*/ 118313 w 1896881"/>
              <a:gd name="connsiteY16" fmla="*/ 368625 h 1206426"/>
              <a:gd name="connsiteX17" fmla="*/ 1098029 w 1896881"/>
              <a:gd name="connsiteY17" fmla="*/ 368625 h 1206426"/>
              <a:gd name="connsiteX18" fmla="*/ 1098029 w 1896881"/>
              <a:gd name="connsiteY18" fmla="*/ 368122 h 1206426"/>
              <a:gd name="connsiteX19" fmla="*/ 1202409 w 1896881"/>
              <a:gd name="connsiteY19" fmla="*/ 368122 h 1206426"/>
              <a:gd name="connsiteX20" fmla="*/ 1360167 w 1896881"/>
              <a:gd name="connsiteY20" fmla="*/ 263554 h 1206426"/>
              <a:gd name="connsiteX21" fmla="*/ 1364152 w 1896881"/>
              <a:gd name="connsiteY21" fmla="*/ 243819 h 1206426"/>
              <a:gd name="connsiteX22" fmla="*/ 1363706 w 1896881"/>
              <a:gd name="connsiteY22" fmla="*/ 241614 h 1206426"/>
              <a:gd name="connsiteX23" fmla="*/ 1363706 w 1896881"/>
              <a:gd name="connsiteY23" fmla="*/ 132939 h 1206426"/>
              <a:gd name="connsiteX24" fmla="*/ 1496647 w 1896881"/>
              <a:gd name="connsiteY24" fmla="*/ 0 h 120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96881" h="1206426">
                <a:moveTo>
                  <a:pt x="1496647" y="0"/>
                </a:moveTo>
                <a:lnTo>
                  <a:pt x="1763942" y="0"/>
                </a:lnTo>
                <a:cubicBezTo>
                  <a:pt x="1837362" y="0"/>
                  <a:pt x="1896881" y="59519"/>
                  <a:pt x="1896881" y="132939"/>
                </a:cubicBezTo>
                <a:lnTo>
                  <a:pt x="1896881" y="241614"/>
                </a:lnTo>
                <a:cubicBezTo>
                  <a:pt x="1896881" y="315035"/>
                  <a:pt x="1837362" y="374554"/>
                  <a:pt x="1763942" y="374554"/>
                </a:cubicBezTo>
                <a:lnTo>
                  <a:pt x="1496647" y="374554"/>
                </a:lnTo>
                <a:lnTo>
                  <a:pt x="1490176" y="373248"/>
                </a:lnTo>
                <a:lnTo>
                  <a:pt x="1463822" y="378569"/>
                </a:lnTo>
                <a:cubicBezTo>
                  <a:pt x="1416107" y="398749"/>
                  <a:pt x="1382628" y="445996"/>
                  <a:pt x="1382628" y="501060"/>
                </a:cubicBezTo>
                <a:lnTo>
                  <a:pt x="1382628" y="555398"/>
                </a:lnTo>
                <a:lnTo>
                  <a:pt x="1380808" y="555398"/>
                </a:lnTo>
                <a:lnTo>
                  <a:pt x="1380808" y="1088113"/>
                </a:lnTo>
                <a:cubicBezTo>
                  <a:pt x="1380808" y="1153455"/>
                  <a:pt x="1327837" y="1206426"/>
                  <a:pt x="1262494" y="1206426"/>
                </a:cubicBezTo>
                <a:lnTo>
                  <a:pt x="118313" y="1206426"/>
                </a:lnTo>
                <a:cubicBezTo>
                  <a:pt x="52971" y="1206426"/>
                  <a:pt x="0" y="1153455"/>
                  <a:pt x="0" y="1088113"/>
                </a:cubicBezTo>
                <a:lnTo>
                  <a:pt x="0" y="486940"/>
                </a:lnTo>
                <a:cubicBezTo>
                  <a:pt x="0" y="421596"/>
                  <a:pt x="52971" y="368625"/>
                  <a:pt x="118313" y="368625"/>
                </a:cubicBezTo>
                <a:lnTo>
                  <a:pt x="1098029" y="368625"/>
                </a:lnTo>
                <a:lnTo>
                  <a:pt x="1098029" y="368122"/>
                </a:lnTo>
                <a:lnTo>
                  <a:pt x="1202409" y="368122"/>
                </a:lnTo>
                <a:cubicBezTo>
                  <a:pt x="1273328" y="368122"/>
                  <a:pt x="1334176" y="325004"/>
                  <a:pt x="1360167" y="263554"/>
                </a:cubicBezTo>
                <a:lnTo>
                  <a:pt x="1364152" y="243819"/>
                </a:lnTo>
                <a:lnTo>
                  <a:pt x="1363706" y="241614"/>
                </a:lnTo>
                <a:lnTo>
                  <a:pt x="1363706" y="132939"/>
                </a:lnTo>
                <a:cubicBezTo>
                  <a:pt x="1363706" y="59519"/>
                  <a:pt x="1423225" y="0"/>
                  <a:pt x="1496647" y="0"/>
                </a:cubicBezTo>
                <a:close/>
              </a:path>
            </a:pathLst>
          </a:custGeom>
          <a:solidFill>
            <a:schemeClr val="accent2">
              <a:alpha val="85000"/>
            </a:schemeClr>
          </a:solidFill>
        </p:spPr>
        <p:txBody>
          <a:bodyPr wrap="square">
            <a:noAutofit/>
          </a:bodyPr>
          <a:lstStyle>
            <a:lvl1pPr marL="0" indent="0">
              <a:buNone/>
              <a:defRPr/>
            </a:lvl1pPr>
          </a:lstStyle>
          <a:p>
            <a:pPr lvl="0"/>
            <a:r>
              <a:rPr lang="nl-NL"/>
              <a:t> </a:t>
            </a:r>
          </a:p>
        </p:txBody>
      </p:sp>
      <p:sp>
        <p:nvSpPr>
          <p:cNvPr id="43" name="Tijdelijke aanduiding voor tekst 42">
            <a:extLst>
              <a:ext uri="{FF2B5EF4-FFF2-40B4-BE49-F238E27FC236}">
                <a16:creationId xmlns:a16="http://schemas.microsoft.com/office/drawing/2014/main" id="{DB3FF11D-55B3-370E-6D07-ACFBC6E3ADC7}"/>
              </a:ext>
            </a:extLst>
          </p:cNvPr>
          <p:cNvSpPr>
            <a:spLocks noGrp="1"/>
          </p:cNvSpPr>
          <p:nvPr>
            <p:ph type="body" sz="quarter" idx="26" hasCustomPrompt="1"/>
          </p:nvPr>
        </p:nvSpPr>
        <p:spPr>
          <a:xfrm>
            <a:off x="8992168" y="5046312"/>
            <a:ext cx="523048" cy="760397"/>
          </a:xfrm>
          <a:prstGeom prst="roundRect">
            <a:avLst>
              <a:gd name="adj" fmla="val 21523"/>
            </a:avLst>
          </a:prstGeom>
          <a:solidFill>
            <a:srgbClr val="EE7628">
              <a:lumMod val="20000"/>
              <a:lumOff val="80000"/>
              <a:alpha val="85000"/>
            </a:srgbClr>
          </a:solidFill>
        </p:spPr>
        <p:txBody>
          <a:bodyPr wrap="square">
            <a:noAutofit/>
          </a:bodyPr>
          <a:lstStyle>
            <a:lvl1pPr marL="0" indent="0">
              <a:buNone/>
              <a:defRPr/>
            </a:lvl1pPr>
          </a:lstStyle>
          <a:p>
            <a:pPr lvl="0"/>
            <a:r>
              <a:rPr lang="nl-NL"/>
              <a:t> </a:t>
            </a:r>
          </a:p>
        </p:txBody>
      </p:sp>
    </p:spTree>
    <p:extLst>
      <p:ext uri="{BB962C8B-B14F-4D97-AF65-F5344CB8AC3E}">
        <p14:creationId xmlns:p14="http://schemas.microsoft.com/office/powerpoint/2010/main" val="521965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750"/>
                                        <p:tgtEl>
                                          <p:spTgt spid="10"/>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Effect transition="in" filter="fade">
                                      <p:cBhvr>
                                        <p:cTn id="11" dur="750"/>
                                        <p:tgtEl>
                                          <p:spTgt spid="8">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9">
                                            <p:txEl>
                                              <p:pRg st="0" end="0"/>
                                            </p:txEl>
                                          </p:spTgt>
                                        </p:tgtEl>
                                        <p:attrNameLst>
                                          <p:attrName>style.visibility</p:attrName>
                                        </p:attrNameLst>
                                      </p:cBhvr>
                                      <p:to>
                                        <p:strVal val="visible"/>
                                      </p:to>
                                    </p:set>
                                    <p:animEffect transition="in" filter="fade">
                                      <p:cBhvr>
                                        <p:cTn id="15" dur="75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tmplLst>
          <p:tmpl lvl="1">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750"/>
                        <p:tgtEl>
                          <p:spTgt spid="8"/>
                        </p:tgtEl>
                      </p:cBhvr>
                    </p:animEffect>
                  </p:childTnLst>
                </p:cTn>
              </p:par>
            </p:tnLst>
          </p:tmpl>
        </p:tmplLst>
      </p:bldP>
      <p:bldP spid="9" grpId="0" build="p"/>
      <p:bldP spid="10" grpId="0">
        <p:tmplLst>
          <p:tmpl>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750"/>
                        <p:tgtEl>
                          <p:spTgt spid="10"/>
                        </p:tgtEl>
                      </p:cBhvr>
                    </p:animEffect>
                  </p:childTnLst>
                </p:cTn>
              </p:par>
            </p:tnLst>
          </p:tmpl>
        </p:tmplLst>
      </p:b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 Image (l) - ZI">
    <p:spTree>
      <p:nvGrpSpPr>
        <p:cNvPr id="1" name=""/>
        <p:cNvGrpSpPr/>
        <p:nvPr/>
      </p:nvGrpSpPr>
      <p:grpSpPr>
        <a:xfrm>
          <a:off x="0" y="0"/>
          <a:ext cx="0" cy="0"/>
          <a:chOff x="0" y="0"/>
          <a:chExt cx="0" cy="0"/>
        </a:xfrm>
      </p:grpSpPr>
      <p:sp>
        <p:nvSpPr>
          <p:cNvPr id="2" name="Tijdelijke aanduiding voor afbeelding 16">
            <a:extLst>
              <a:ext uri="{FF2B5EF4-FFF2-40B4-BE49-F238E27FC236}">
                <a16:creationId xmlns:a16="http://schemas.microsoft.com/office/drawing/2014/main" id="{0221E4E3-210D-E40D-C35E-C2E364D97C3C}"/>
              </a:ext>
            </a:extLst>
          </p:cNvPr>
          <p:cNvSpPr>
            <a:spLocks noGrp="1"/>
          </p:cNvSpPr>
          <p:nvPr>
            <p:ph type="pic" sz="quarter" idx="14" hasCustomPrompt="1"/>
          </p:nvPr>
        </p:nvSpPr>
        <p:spPr>
          <a:xfrm>
            <a:off x="4329987" y="722312"/>
            <a:ext cx="7133319" cy="5083175"/>
          </a:xfrm>
          <a:prstGeom prst="roundRect">
            <a:avLst>
              <a:gd name="adj" fmla="val 3394"/>
            </a:avLst>
          </a:prstGeom>
          <a:solidFill>
            <a:schemeClr val="bg1">
              <a:lumMod val="95000"/>
            </a:schemeClr>
          </a:solidFill>
          <a:ln w="15875">
            <a:noFill/>
          </a:ln>
        </p:spPr>
        <p:txBody>
          <a:bodyPr lIns="1332000" tIns="0" rIns="1332000" bIns="1080000" anchor="ctr" anchorCtr="0"/>
          <a:lstStyle>
            <a:lvl1pPr marL="0" indent="0" algn="ctr">
              <a:buNone/>
              <a:defRPr sz="1200" i="1">
                <a:solidFill>
                  <a:schemeClr val="bg1">
                    <a:lumMod val="50000"/>
                  </a:schemeClr>
                </a:solidFill>
              </a:defRPr>
            </a:lvl1pPr>
          </a:lstStyle>
          <a:p>
            <a:r>
              <a:rPr lang="en-GB"/>
              <a:t>Select this placeholder, go to the tab ‘Slidebuilder’, click on ‘Images’, select the preferred image and click on ‘Insert’.</a:t>
            </a:r>
          </a:p>
        </p:txBody>
      </p:sp>
      <p:sp>
        <p:nvSpPr>
          <p:cNvPr id="10" name="Rechthoek: afgeronde hoeken 9">
            <a:extLst>
              <a:ext uri="{FF2B5EF4-FFF2-40B4-BE49-F238E27FC236}">
                <a16:creationId xmlns:a16="http://schemas.microsoft.com/office/drawing/2014/main" id="{CFF9DFAA-B23B-484A-876E-86682D7D6ED8}"/>
              </a:ext>
            </a:extLst>
          </p:cNvPr>
          <p:cNvSpPr/>
          <p:nvPr userDrawn="1"/>
        </p:nvSpPr>
        <p:spPr>
          <a:xfrm>
            <a:off x="0" y="-367937"/>
            <a:ext cx="1288110" cy="24622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en-GB" sz="1600" b="1" cap="none" baseline="0" noProof="0">
                <a:solidFill>
                  <a:schemeClr val="accent1"/>
                </a:solidFill>
                <a:latin typeface="+mj-lt"/>
              </a:rPr>
              <a:t>Text + Image (l)</a:t>
            </a:r>
          </a:p>
        </p:txBody>
      </p:sp>
      <p:sp>
        <p:nvSpPr>
          <p:cNvPr id="153" name="Tijdelijke aanduiding voor tekst 15">
            <a:extLst>
              <a:ext uri="{FF2B5EF4-FFF2-40B4-BE49-F238E27FC236}">
                <a16:creationId xmlns:a16="http://schemas.microsoft.com/office/drawing/2014/main" id="{52BAAFD8-0FBE-92C7-146C-3747D304DD1D}"/>
              </a:ext>
            </a:extLst>
          </p:cNvPr>
          <p:cNvSpPr>
            <a:spLocks noGrp="1"/>
          </p:cNvSpPr>
          <p:nvPr>
            <p:ph type="body" sz="quarter" idx="15" hasCustomPrompt="1"/>
          </p:nvPr>
        </p:nvSpPr>
        <p:spPr>
          <a:xfrm>
            <a:off x="720000" y="6060536"/>
            <a:ext cx="932400" cy="475200"/>
          </a:xfrm>
          <a:blipFill>
            <a:blip r:embed="rId2"/>
            <a:stretch>
              <a:fillRect/>
            </a:stretch>
          </a:blipFill>
        </p:spPr>
        <p:txBody>
          <a:bodyPr/>
          <a:lstStyle>
            <a:lvl1pPr marL="0" indent="0">
              <a:buNone/>
              <a:defRPr sz="100"/>
            </a:lvl1pPr>
          </a:lstStyle>
          <a:p>
            <a:pPr lvl="0"/>
            <a:r>
              <a:rPr lang="en-GB"/>
              <a:t> </a:t>
            </a:r>
          </a:p>
        </p:txBody>
      </p:sp>
      <p:sp>
        <p:nvSpPr>
          <p:cNvPr id="155" name="Tijdelijke aanduiding voor tekst 12">
            <a:extLst>
              <a:ext uri="{FF2B5EF4-FFF2-40B4-BE49-F238E27FC236}">
                <a16:creationId xmlns:a16="http://schemas.microsoft.com/office/drawing/2014/main" id="{05E61418-C0E0-C2F3-7C6B-12AEC15AB188}"/>
              </a:ext>
            </a:extLst>
          </p:cNvPr>
          <p:cNvSpPr>
            <a:spLocks noGrp="1"/>
          </p:cNvSpPr>
          <p:nvPr>
            <p:ph type="body" sz="quarter" idx="18" hasCustomPrompt="1"/>
          </p:nvPr>
        </p:nvSpPr>
        <p:spPr>
          <a:xfrm>
            <a:off x="708207" y="707795"/>
            <a:ext cx="36000" cy="396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buNone/>
              <a:defRPr sz="100"/>
            </a:lvl1pPr>
          </a:lstStyle>
          <a:p>
            <a:pPr lvl="0"/>
            <a:r>
              <a:rPr lang="en-GB"/>
              <a:t> </a:t>
            </a:r>
          </a:p>
        </p:txBody>
      </p:sp>
      <p:sp>
        <p:nvSpPr>
          <p:cNvPr id="156" name="Tijdelijke aanduiding voor titel 1">
            <a:extLst>
              <a:ext uri="{FF2B5EF4-FFF2-40B4-BE49-F238E27FC236}">
                <a16:creationId xmlns:a16="http://schemas.microsoft.com/office/drawing/2014/main" id="{CD445FED-8D66-ACF0-1C4E-3A9EE72B39FC}"/>
              </a:ext>
            </a:extLst>
          </p:cNvPr>
          <p:cNvSpPr>
            <a:spLocks noGrp="1"/>
          </p:cNvSpPr>
          <p:nvPr>
            <p:ph type="title" hasCustomPrompt="1"/>
          </p:nvPr>
        </p:nvSpPr>
        <p:spPr>
          <a:xfrm>
            <a:off x="865163" y="722313"/>
            <a:ext cx="2853637" cy="342211"/>
          </a:xfrm>
          <a:prstGeom prst="rect">
            <a:avLst/>
          </a:prstGeom>
        </p:spPr>
        <p:txBody>
          <a:bodyPr vert="horz" lIns="0" tIns="0" rIns="0" bIns="0" rtlCol="0" anchor="t">
            <a:noAutofit/>
          </a:bodyPr>
          <a:lstStyle/>
          <a:p>
            <a:r>
              <a:rPr lang="en-GB" noProof="0"/>
              <a:t>Place the title of the slide</a:t>
            </a:r>
          </a:p>
        </p:txBody>
      </p:sp>
      <p:sp>
        <p:nvSpPr>
          <p:cNvPr id="49" name="Tijdelijke aanduiding voor tekst 19">
            <a:extLst>
              <a:ext uri="{FF2B5EF4-FFF2-40B4-BE49-F238E27FC236}">
                <a16:creationId xmlns:a16="http://schemas.microsoft.com/office/drawing/2014/main" id="{A6C87866-9E96-89AD-D9AA-1CD4B1042A8F}"/>
              </a:ext>
            </a:extLst>
          </p:cNvPr>
          <p:cNvSpPr>
            <a:spLocks noGrp="1"/>
          </p:cNvSpPr>
          <p:nvPr>
            <p:ph type="body" sz="quarter" idx="20" hasCustomPrompt="1"/>
          </p:nvPr>
        </p:nvSpPr>
        <p:spPr>
          <a:xfrm>
            <a:off x="4646840" y="5054643"/>
            <a:ext cx="1997075" cy="548005"/>
          </a:xfrm>
        </p:spPr>
        <p:txBody>
          <a:bodyPr anchor="b"/>
          <a:lstStyle>
            <a:lvl1pPr marL="0" indent="0">
              <a:lnSpc>
                <a:spcPts val="1400"/>
              </a:lnSpc>
              <a:buNone/>
              <a:defRPr sz="1100">
                <a:solidFill>
                  <a:schemeClr val="bg2"/>
                </a:solidFill>
                <a:effectLst>
                  <a:outerShdw blurRad="228600" dir="5400000" algn="ctr" rotWithShape="0">
                    <a:srgbClr val="000000">
                      <a:alpha val="35000"/>
                    </a:srgbClr>
                  </a:outerShdw>
                </a:effectLst>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a:t>
            </a:r>
            <a:r>
              <a:rPr lang="nl-NL"/>
              <a:t> </a:t>
            </a:r>
            <a:r>
              <a:rPr lang="nl-NL" err="1"/>
              <a:t>adipisci</a:t>
            </a:r>
            <a:r>
              <a:rPr lang="nl-NL"/>
              <a:t> </a:t>
            </a:r>
            <a:r>
              <a:rPr lang="nl-NL" err="1"/>
              <a:t>elit</a:t>
            </a:r>
            <a:r>
              <a:rPr lang="nl-NL"/>
              <a:t>. </a:t>
            </a:r>
            <a:r>
              <a:rPr lang="nl-NL" err="1"/>
              <a:t>Pellentes</a:t>
            </a:r>
            <a:r>
              <a:rPr lang="nl-NL"/>
              <a:t> </a:t>
            </a:r>
            <a:r>
              <a:rPr lang="nl-NL" err="1"/>
              <a:t>blandit</a:t>
            </a:r>
            <a:r>
              <a:rPr lang="nl-NL"/>
              <a:t> </a:t>
            </a:r>
            <a:r>
              <a:rPr lang="nl-NL" err="1"/>
              <a:t>felis</a:t>
            </a:r>
            <a:r>
              <a:rPr lang="nl-NL"/>
              <a:t> </a:t>
            </a:r>
            <a:r>
              <a:rPr lang="nl-NL" err="1"/>
              <a:t>eu</a:t>
            </a:r>
            <a:r>
              <a:rPr lang="nl-NL"/>
              <a:t> </a:t>
            </a:r>
            <a:r>
              <a:rPr lang="nl-NL" err="1"/>
              <a:t>ullamcorp</a:t>
            </a:r>
            <a:r>
              <a:rPr lang="nl-NL"/>
              <a:t> temp</a:t>
            </a:r>
          </a:p>
        </p:txBody>
      </p:sp>
      <p:sp>
        <p:nvSpPr>
          <p:cNvPr id="3" name="Tijdelijke aanduiding voor tekst 2">
            <a:extLst>
              <a:ext uri="{FF2B5EF4-FFF2-40B4-BE49-F238E27FC236}">
                <a16:creationId xmlns:a16="http://schemas.microsoft.com/office/drawing/2014/main" id="{3F9AEFBB-1CC1-6A55-7659-C9F235909E28}"/>
              </a:ext>
            </a:extLst>
          </p:cNvPr>
          <p:cNvSpPr>
            <a:spLocks noGrp="1"/>
          </p:cNvSpPr>
          <p:nvPr>
            <p:ph idx="21"/>
          </p:nvPr>
        </p:nvSpPr>
        <p:spPr>
          <a:xfrm>
            <a:off x="720000" y="1991183"/>
            <a:ext cx="3102405" cy="3815024"/>
          </a:xfrm>
          <a:prstGeom prst="rect">
            <a:avLst/>
          </a:prstGeom>
        </p:spPr>
        <p:txBody>
          <a:bodyPr vert="horz" lIns="0" tIns="0" rIns="0" bIns="0" rtlCol="0">
            <a:noAutofit/>
          </a:bodyPr>
          <a:lstStyle/>
          <a:p>
            <a:pPr lvl="0"/>
            <a:r>
              <a:rPr lang="en-GB" noProof="0"/>
              <a:t>Plain text #1</a:t>
            </a:r>
          </a:p>
          <a:p>
            <a:pPr lvl="1"/>
            <a:r>
              <a:rPr lang="en-GB" noProof="0"/>
              <a:t>Plain text #2</a:t>
            </a:r>
          </a:p>
          <a:p>
            <a:pPr lvl="2"/>
            <a:r>
              <a:rPr lang="en-GB" noProof="0"/>
              <a:t>Heading #1</a:t>
            </a:r>
          </a:p>
          <a:p>
            <a:pPr lvl="3"/>
            <a:r>
              <a:rPr lang="en-GB" noProof="0" err="1"/>
              <a:t>Tekst</a:t>
            </a:r>
            <a:endParaRPr lang="en-GB" noProof="0"/>
          </a:p>
          <a:p>
            <a:pPr lvl="4"/>
            <a:r>
              <a:rPr lang="en-GB" noProof="0"/>
              <a:t>Heading #3</a:t>
            </a:r>
          </a:p>
          <a:p>
            <a:pPr lvl="5"/>
            <a:r>
              <a:rPr lang="en-GB" noProof="0"/>
              <a:t>Heading #4</a:t>
            </a:r>
          </a:p>
          <a:p>
            <a:pPr lvl="6"/>
            <a:r>
              <a:rPr lang="en-GB" noProof="0"/>
              <a:t>Numbers</a:t>
            </a:r>
          </a:p>
          <a:p>
            <a:pPr lvl="7"/>
            <a:r>
              <a:rPr lang="en-GB" noProof="0"/>
              <a:t>Letters</a:t>
            </a:r>
          </a:p>
          <a:p>
            <a:pPr marL="0" marR="0" lvl="8" indent="0" algn="l" defTabSz="914400" rtl="0" eaLnBrk="1" fontAlgn="auto" latinLnBrk="0" hangingPunct="1">
              <a:lnSpc>
                <a:spcPct val="90000"/>
              </a:lnSpc>
              <a:spcBef>
                <a:spcPts val="600"/>
              </a:spcBef>
              <a:spcAft>
                <a:spcPts val="600"/>
              </a:spcAft>
              <a:buClr>
                <a:schemeClr val="tx2"/>
              </a:buClr>
              <a:buSzTx/>
              <a:buFontTx/>
              <a:buNone/>
              <a:tabLst/>
              <a:defRPr/>
            </a:pPr>
            <a:r>
              <a:rPr lang="en-GB" noProof="0" err="1"/>
              <a:t>Bronvermelding</a:t>
            </a:r>
            <a:endParaRPr lang="en-GB" noProof="0"/>
          </a:p>
        </p:txBody>
      </p:sp>
    </p:spTree>
    <p:extLst>
      <p:ext uri="{BB962C8B-B14F-4D97-AF65-F5344CB8AC3E}">
        <p14:creationId xmlns:p14="http://schemas.microsoft.com/office/powerpoint/2010/main" val="412895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rounded - ZI">
    <p:spTree>
      <p:nvGrpSpPr>
        <p:cNvPr id="1" name=""/>
        <p:cNvGrpSpPr/>
        <p:nvPr/>
      </p:nvGrpSpPr>
      <p:grpSpPr>
        <a:xfrm>
          <a:off x="0" y="0"/>
          <a:ext cx="0" cy="0"/>
          <a:chOff x="0" y="0"/>
          <a:chExt cx="0" cy="0"/>
        </a:xfrm>
      </p:grpSpPr>
      <p:sp>
        <p:nvSpPr>
          <p:cNvPr id="14" name="Tijdelijke aanduiding voor afbeelding 13">
            <a:extLst>
              <a:ext uri="{FF2B5EF4-FFF2-40B4-BE49-F238E27FC236}">
                <a16:creationId xmlns:a16="http://schemas.microsoft.com/office/drawing/2014/main" id="{6D83A196-0A48-69BC-54A6-5B14D8C6FED8}"/>
              </a:ext>
            </a:extLst>
          </p:cNvPr>
          <p:cNvSpPr>
            <a:spLocks noGrp="1"/>
          </p:cNvSpPr>
          <p:nvPr>
            <p:ph type="pic" sz="quarter" idx="13" hasCustomPrompt="1"/>
          </p:nvPr>
        </p:nvSpPr>
        <p:spPr>
          <a:xfrm>
            <a:off x="193040" y="208280"/>
            <a:ext cx="11805920" cy="6441440"/>
          </a:xfrm>
          <a:custGeom>
            <a:avLst/>
            <a:gdLst>
              <a:gd name="connsiteX0" fmla="*/ 301459 w 11805920"/>
              <a:gd name="connsiteY0" fmla="*/ 0 h 6441440"/>
              <a:gd name="connsiteX1" fmla="*/ 11504461 w 11805920"/>
              <a:gd name="connsiteY1" fmla="*/ 0 h 6441440"/>
              <a:gd name="connsiteX2" fmla="*/ 11805920 w 11805920"/>
              <a:gd name="connsiteY2" fmla="*/ 301459 h 6441440"/>
              <a:gd name="connsiteX3" fmla="*/ 11805920 w 11805920"/>
              <a:gd name="connsiteY3" fmla="*/ 6139981 h 6441440"/>
              <a:gd name="connsiteX4" fmla="*/ 11504461 w 11805920"/>
              <a:gd name="connsiteY4" fmla="*/ 6441440 h 6441440"/>
              <a:gd name="connsiteX5" fmla="*/ 301459 w 11805920"/>
              <a:gd name="connsiteY5" fmla="*/ 6441440 h 6441440"/>
              <a:gd name="connsiteX6" fmla="*/ 0 w 11805920"/>
              <a:gd name="connsiteY6" fmla="*/ 6139981 h 6441440"/>
              <a:gd name="connsiteX7" fmla="*/ 0 w 11805920"/>
              <a:gd name="connsiteY7" fmla="*/ 301459 h 6441440"/>
              <a:gd name="connsiteX8" fmla="*/ 301459 w 11805920"/>
              <a:gd name="connsiteY8" fmla="*/ 0 h 6441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5920" h="6441440">
                <a:moveTo>
                  <a:pt x="301459" y="0"/>
                </a:moveTo>
                <a:lnTo>
                  <a:pt x="11504461" y="0"/>
                </a:lnTo>
                <a:cubicBezTo>
                  <a:pt x="11670952" y="0"/>
                  <a:pt x="11805920" y="134968"/>
                  <a:pt x="11805920" y="301459"/>
                </a:cubicBezTo>
                <a:lnTo>
                  <a:pt x="11805920" y="6139981"/>
                </a:lnTo>
                <a:cubicBezTo>
                  <a:pt x="11805920" y="6306472"/>
                  <a:pt x="11670952" y="6441440"/>
                  <a:pt x="11504461" y="6441440"/>
                </a:cubicBezTo>
                <a:lnTo>
                  <a:pt x="301459" y="6441440"/>
                </a:lnTo>
                <a:cubicBezTo>
                  <a:pt x="134968" y="6441440"/>
                  <a:pt x="0" y="6306472"/>
                  <a:pt x="0" y="6139981"/>
                </a:cubicBezTo>
                <a:lnTo>
                  <a:pt x="0" y="301459"/>
                </a:lnTo>
                <a:cubicBezTo>
                  <a:pt x="0" y="134968"/>
                  <a:pt x="134968" y="0"/>
                  <a:pt x="301459" y="0"/>
                </a:cubicBezTo>
                <a:close/>
              </a:path>
            </a:pathLst>
          </a:custGeom>
          <a:solidFill>
            <a:schemeClr val="bg1">
              <a:lumMod val="95000"/>
            </a:schemeClr>
          </a:solidFill>
        </p:spPr>
        <p:txBody>
          <a:bodyPr wrap="square" tIns="0" bIns="1080000" anchor="ctr" anchorCtr="0">
            <a:noAutofit/>
          </a:bodyPr>
          <a:lstStyle>
            <a:lvl1pPr marL="0" indent="0" algn="ctr">
              <a:buNone/>
              <a:defRPr sz="1200" i="1">
                <a:solidFill>
                  <a:schemeClr val="bg1">
                    <a:lumMod val="50000"/>
                  </a:schemeClr>
                </a:solidFill>
              </a:defRPr>
            </a:lvl1pPr>
          </a:lstStyle>
          <a:p>
            <a:r>
              <a:rPr lang="en-GB" noProof="0"/>
              <a:t>Select this placeholder, go to the tab ‘Slidebuilder’, click on ‘Images’, select the preferred image and click on ‘Insert’.</a:t>
            </a:r>
          </a:p>
        </p:txBody>
      </p:sp>
      <p:sp>
        <p:nvSpPr>
          <p:cNvPr id="8" name="Rechthoek: afgeronde hoeken 7">
            <a:extLst>
              <a:ext uri="{FF2B5EF4-FFF2-40B4-BE49-F238E27FC236}">
                <a16:creationId xmlns:a16="http://schemas.microsoft.com/office/drawing/2014/main" id="{E6C0F707-B0B6-4437-92EC-6DC7FCF35DD2}"/>
              </a:ext>
            </a:extLst>
          </p:cNvPr>
          <p:cNvSpPr/>
          <p:nvPr userDrawn="1"/>
        </p:nvSpPr>
        <p:spPr>
          <a:xfrm>
            <a:off x="0" y="-367937"/>
            <a:ext cx="1293752" cy="24622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en-GB" sz="1600" b="1" cap="none" baseline="0" noProof="0">
                <a:solidFill>
                  <a:schemeClr val="accent1"/>
                </a:solidFill>
                <a:latin typeface="+mj-lt"/>
              </a:rPr>
              <a:t>Image rounded</a:t>
            </a:r>
            <a:endParaRPr lang="en-GB" sz="2400" b="1" cap="none" baseline="0" noProof="0">
              <a:solidFill>
                <a:schemeClr val="accent1"/>
              </a:solidFill>
              <a:latin typeface="+mj-lt"/>
            </a:endParaRPr>
          </a:p>
        </p:txBody>
      </p:sp>
      <p:sp>
        <p:nvSpPr>
          <p:cNvPr id="77" name="Tijdelijke aanduiding voor tekst 15">
            <a:extLst>
              <a:ext uri="{FF2B5EF4-FFF2-40B4-BE49-F238E27FC236}">
                <a16:creationId xmlns:a16="http://schemas.microsoft.com/office/drawing/2014/main" id="{556F8572-CE32-448F-67F4-2E2565A6904D}"/>
              </a:ext>
            </a:extLst>
          </p:cNvPr>
          <p:cNvSpPr>
            <a:spLocks noGrp="1"/>
          </p:cNvSpPr>
          <p:nvPr>
            <p:ph type="body" sz="quarter" idx="14" hasCustomPrompt="1"/>
          </p:nvPr>
        </p:nvSpPr>
        <p:spPr>
          <a:xfrm>
            <a:off x="720000" y="6060536"/>
            <a:ext cx="932400" cy="475200"/>
          </a:xfrm>
          <a:blipFill>
            <a:blip r:embed="rId2"/>
            <a:stretch>
              <a:fillRect/>
            </a:stretch>
          </a:blipFill>
        </p:spPr>
        <p:txBody>
          <a:bodyPr/>
          <a:lstStyle>
            <a:lvl1pPr marL="0" indent="0">
              <a:buNone/>
              <a:defRPr sz="100"/>
            </a:lvl1pPr>
          </a:lstStyle>
          <a:p>
            <a:pPr lvl="0"/>
            <a:r>
              <a:rPr lang="en-GB"/>
              <a:t> </a:t>
            </a:r>
          </a:p>
        </p:txBody>
      </p:sp>
      <p:sp>
        <p:nvSpPr>
          <p:cNvPr id="81" name="Tijdelijke aanduiding voor tekst 12">
            <a:extLst>
              <a:ext uri="{FF2B5EF4-FFF2-40B4-BE49-F238E27FC236}">
                <a16:creationId xmlns:a16="http://schemas.microsoft.com/office/drawing/2014/main" id="{712CF7BF-F408-9352-F5D4-4AE1AC2CA7B9}"/>
              </a:ext>
            </a:extLst>
          </p:cNvPr>
          <p:cNvSpPr>
            <a:spLocks noGrp="1"/>
          </p:cNvSpPr>
          <p:nvPr>
            <p:ph type="body" sz="quarter" idx="18" hasCustomPrompt="1"/>
          </p:nvPr>
        </p:nvSpPr>
        <p:spPr>
          <a:xfrm>
            <a:off x="708207" y="707795"/>
            <a:ext cx="36000" cy="396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buNone/>
              <a:defRPr sz="100"/>
            </a:lvl1pPr>
          </a:lstStyle>
          <a:p>
            <a:pPr lvl="0"/>
            <a:r>
              <a:rPr lang="en-GB"/>
              <a:t> </a:t>
            </a:r>
          </a:p>
        </p:txBody>
      </p:sp>
      <p:sp>
        <p:nvSpPr>
          <p:cNvPr id="82" name="Tijdelijke aanduiding voor titel 1">
            <a:extLst>
              <a:ext uri="{FF2B5EF4-FFF2-40B4-BE49-F238E27FC236}">
                <a16:creationId xmlns:a16="http://schemas.microsoft.com/office/drawing/2014/main" id="{EA4CC151-4A54-758F-AAA8-86BD1EB1643C}"/>
              </a:ext>
            </a:extLst>
          </p:cNvPr>
          <p:cNvSpPr>
            <a:spLocks noGrp="1"/>
          </p:cNvSpPr>
          <p:nvPr>
            <p:ph type="title" hasCustomPrompt="1"/>
          </p:nvPr>
        </p:nvSpPr>
        <p:spPr>
          <a:xfrm>
            <a:off x="865163" y="722313"/>
            <a:ext cx="10606838" cy="342211"/>
          </a:xfrm>
          <a:prstGeom prst="rect">
            <a:avLst/>
          </a:prstGeom>
        </p:spPr>
        <p:txBody>
          <a:bodyPr vert="horz" lIns="0" tIns="0" rIns="0" bIns="0" rtlCol="0" anchor="t">
            <a:noAutofit/>
          </a:bodyPr>
          <a:lstStyle/>
          <a:p>
            <a:r>
              <a:rPr lang="en-GB" noProof="0"/>
              <a:t>Place the title of the slide here</a:t>
            </a:r>
          </a:p>
        </p:txBody>
      </p:sp>
      <p:sp>
        <p:nvSpPr>
          <p:cNvPr id="2" name="Tijdelijke aanduiding voor tekst 19">
            <a:extLst>
              <a:ext uri="{FF2B5EF4-FFF2-40B4-BE49-F238E27FC236}">
                <a16:creationId xmlns:a16="http://schemas.microsoft.com/office/drawing/2014/main" id="{FD9FF130-CBEA-70AB-06BD-E816BFAC3F3D}"/>
              </a:ext>
            </a:extLst>
          </p:cNvPr>
          <p:cNvSpPr>
            <a:spLocks noGrp="1"/>
          </p:cNvSpPr>
          <p:nvPr>
            <p:ph type="body" sz="quarter" idx="20" hasCustomPrompt="1"/>
          </p:nvPr>
        </p:nvSpPr>
        <p:spPr>
          <a:xfrm>
            <a:off x="8278536" y="4986370"/>
            <a:ext cx="3287065" cy="1320208"/>
          </a:xfrm>
        </p:spPr>
        <p:txBody>
          <a:bodyPr anchor="b"/>
          <a:lstStyle>
            <a:lvl1pPr marL="0" indent="0" algn="r">
              <a:lnSpc>
                <a:spcPts val="2500"/>
              </a:lnSpc>
              <a:buNone/>
              <a:defRPr sz="1800">
                <a:solidFill>
                  <a:schemeClr val="bg2"/>
                </a:solidFill>
                <a:effectLst>
                  <a:outerShdw blurRad="228600" dir="5400000" algn="ctr" rotWithShape="0">
                    <a:srgbClr val="000000">
                      <a:alpha val="35000"/>
                    </a:srgbClr>
                  </a:outerShdw>
                </a:effectLst>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a:t>
            </a:r>
            <a:r>
              <a:rPr lang="nl-NL"/>
              <a:t> </a:t>
            </a:r>
            <a:r>
              <a:rPr lang="nl-NL" err="1"/>
              <a:t>adipisci</a:t>
            </a:r>
            <a:r>
              <a:rPr lang="nl-NL"/>
              <a:t> </a:t>
            </a:r>
            <a:r>
              <a:rPr lang="nl-NL" err="1"/>
              <a:t>elit</a:t>
            </a:r>
            <a:r>
              <a:rPr lang="nl-NL"/>
              <a:t>. </a:t>
            </a:r>
            <a:r>
              <a:rPr lang="nl-NL" err="1"/>
              <a:t>Pellentes</a:t>
            </a:r>
            <a:r>
              <a:rPr lang="nl-NL"/>
              <a:t> </a:t>
            </a:r>
            <a:r>
              <a:rPr lang="nl-NL" err="1"/>
              <a:t>blandit</a:t>
            </a:r>
            <a:r>
              <a:rPr lang="nl-NL"/>
              <a:t> </a:t>
            </a:r>
            <a:r>
              <a:rPr lang="nl-NL" err="1"/>
              <a:t>felis</a:t>
            </a:r>
            <a:r>
              <a:rPr lang="nl-NL"/>
              <a:t> </a:t>
            </a:r>
            <a:r>
              <a:rPr lang="nl-NL" err="1"/>
              <a:t>eu</a:t>
            </a:r>
            <a:r>
              <a:rPr lang="nl-NL"/>
              <a:t> </a:t>
            </a:r>
            <a:r>
              <a:rPr lang="nl-NL" err="1"/>
              <a:t>ullamcorp</a:t>
            </a:r>
            <a:r>
              <a:rPr lang="nl-NL"/>
              <a:t> temp</a:t>
            </a:r>
          </a:p>
        </p:txBody>
      </p:sp>
    </p:spTree>
    <p:extLst>
      <p:ext uri="{BB962C8B-B14F-4D97-AF65-F5344CB8AC3E}">
        <p14:creationId xmlns:p14="http://schemas.microsoft.com/office/powerpoint/2010/main" val="4231983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 Chart - ZI">
    <p:spTree>
      <p:nvGrpSpPr>
        <p:cNvPr id="1" name=""/>
        <p:cNvGrpSpPr/>
        <p:nvPr/>
      </p:nvGrpSpPr>
      <p:grpSpPr>
        <a:xfrm>
          <a:off x="0" y="0"/>
          <a:ext cx="0" cy="0"/>
          <a:chOff x="0" y="0"/>
          <a:chExt cx="0" cy="0"/>
        </a:xfrm>
      </p:grpSpPr>
      <p:sp>
        <p:nvSpPr>
          <p:cNvPr id="159" name="Tijdelijke aanduiding voor tekst 10">
            <a:extLst>
              <a:ext uri="{FF2B5EF4-FFF2-40B4-BE49-F238E27FC236}">
                <a16:creationId xmlns:a16="http://schemas.microsoft.com/office/drawing/2014/main" id="{DD22A24E-8C6D-2D69-A0D2-221BFECA6072}"/>
              </a:ext>
            </a:extLst>
          </p:cNvPr>
          <p:cNvSpPr txBox="1">
            <a:spLocks/>
          </p:cNvSpPr>
          <p:nvPr userDrawn="1"/>
        </p:nvSpPr>
        <p:spPr>
          <a:xfrm>
            <a:off x="708207" y="1587316"/>
            <a:ext cx="5256000" cy="4218171"/>
          </a:xfrm>
          <a:prstGeom prst="roundRect">
            <a:avLst>
              <a:gd name="adj" fmla="val 3563"/>
            </a:avLst>
          </a:prstGeom>
          <a:solidFill>
            <a:schemeClr val="bg2">
              <a:alpha val="20000"/>
            </a:schemeClr>
          </a:solidFill>
          <a:ln>
            <a:solidFill>
              <a:schemeClr val="bg2"/>
            </a:solidFill>
          </a:ln>
        </p:spPr>
        <p:txBody>
          <a:bodyPr wrap="square">
            <a:noAutofit/>
          </a:bodyPr>
          <a:lstStyle>
            <a:lvl1pPr marL="0" indent="0" algn="l" defTabSz="914400" rtl="0" eaLnBrk="1" latinLnBrk="0" hangingPunct="1">
              <a:lnSpc>
                <a:spcPct val="90000"/>
              </a:lnSpc>
              <a:spcBef>
                <a:spcPts val="600"/>
              </a:spcBef>
              <a:spcAft>
                <a:spcPts val="600"/>
              </a:spcAft>
              <a:buClr>
                <a:schemeClr val="accent1"/>
              </a:buClr>
              <a:buSzPct val="110000"/>
              <a:buFont typeface="Aptos" panose="020B0004020202020204" pitchFamily="34" charset="0"/>
              <a:buNone/>
              <a:defRPr sz="100" kern="1200">
                <a:solidFill>
                  <a:schemeClr val="tx1"/>
                </a:solidFill>
                <a:latin typeface="+mn-lt"/>
                <a:ea typeface="+mn-ea"/>
                <a:cs typeface="+mn-cs"/>
              </a:defRPr>
            </a:lvl1pPr>
            <a:lvl2pPr marL="355600" indent="-177800" algn="l" defTabSz="914400" rtl="0" eaLnBrk="1" latinLnBrk="0" hangingPunct="1">
              <a:lnSpc>
                <a:spcPct val="90000"/>
              </a:lnSpc>
              <a:spcBef>
                <a:spcPts val="600"/>
              </a:spcBef>
              <a:spcAft>
                <a:spcPts val="600"/>
              </a:spcAft>
              <a:buClr>
                <a:schemeClr val="tx2"/>
              </a:buClr>
              <a:buFont typeface="Aptos" panose="020B0004020202020204" pitchFamily="34" charset="0"/>
              <a:buChar char="•"/>
              <a:tabLst/>
              <a:defRPr sz="1600" kern="1200">
                <a:solidFill>
                  <a:schemeClr val="tx1"/>
                </a:solidFill>
                <a:latin typeface="+mn-lt"/>
                <a:ea typeface="+mn-ea"/>
                <a:cs typeface="+mn-cs"/>
              </a:defRPr>
            </a:lvl2pPr>
            <a:lvl3pPr marL="531813" indent="-176213"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1600" kern="1200">
                <a:solidFill>
                  <a:schemeClr val="tx1"/>
                </a:solidFill>
                <a:latin typeface="+mn-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5"/>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2"/>
                </a:solidFill>
                <a:latin typeface="+mj-lt"/>
                <a:ea typeface="+mn-ea"/>
                <a:cs typeface="+mn-cs"/>
              </a:defRPr>
            </a:lvl6pPr>
            <a:lvl7pPr marL="342900" indent="-342900" algn="l" defTabSz="914400" rtl="0" eaLnBrk="1" latinLnBrk="0" hangingPunct="1">
              <a:lnSpc>
                <a:spcPct val="90000"/>
              </a:lnSpc>
              <a:spcBef>
                <a:spcPts val="600"/>
              </a:spcBef>
              <a:spcAft>
                <a:spcPts val="600"/>
              </a:spcAft>
              <a:buClr>
                <a:schemeClr val="tx2"/>
              </a:buClr>
              <a:buFont typeface="+mj-lt"/>
              <a:buAutoNum type="arabicPeriod"/>
              <a:tabLst/>
              <a:defRPr sz="1600" kern="1200">
                <a:solidFill>
                  <a:schemeClr val="tx1"/>
                </a:solidFill>
                <a:latin typeface="+mn-lt"/>
                <a:ea typeface="+mn-ea"/>
                <a:cs typeface="+mn-cs"/>
              </a:defRPr>
            </a:lvl7pPr>
            <a:lvl8pPr marL="342900" indent="-342900" algn="l" defTabSz="914400" rtl="0" eaLnBrk="1" latinLnBrk="0" hangingPunct="1">
              <a:lnSpc>
                <a:spcPct val="90000"/>
              </a:lnSpc>
              <a:spcBef>
                <a:spcPts val="600"/>
              </a:spcBef>
              <a:spcAft>
                <a:spcPts val="600"/>
              </a:spcAft>
              <a:buClr>
                <a:schemeClr val="tx2"/>
              </a:buClr>
              <a:buFont typeface="+mj-lt"/>
              <a:buAutoNum type="alphaLcPeriod"/>
              <a:defRPr sz="1600" kern="1200">
                <a:solidFill>
                  <a:schemeClr val="tx1"/>
                </a:solidFill>
                <a:latin typeface="+mn-lt"/>
                <a:ea typeface="+mn-ea"/>
                <a:cs typeface="+mn-cs"/>
              </a:defRPr>
            </a:lvl8pPr>
            <a:lvl9pPr marL="541338" indent="-180975"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600" i="0" kern="1200">
                <a:solidFill>
                  <a:schemeClr val="tx1"/>
                </a:solidFill>
                <a:latin typeface="+mn-lt"/>
                <a:ea typeface="+mn-ea"/>
                <a:cs typeface="+mn-cs"/>
              </a:defRPr>
            </a:lvl9pPr>
          </a:lstStyle>
          <a:p>
            <a:r>
              <a:rPr lang="en-GB"/>
              <a:t> </a:t>
            </a:r>
          </a:p>
        </p:txBody>
      </p:sp>
      <p:sp>
        <p:nvSpPr>
          <p:cNvPr id="18" name="Tijdelijke aanduiding voor grafiek 17">
            <a:extLst>
              <a:ext uri="{FF2B5EF4-FFF2-40B4-BE49-F238E27FC236}">
                <a16:creationId xmlns:a16="http://schemas.microsoft.com/office/drawing/2014/main" id="{FBAE20DA-BB0F-413F-A532-86A4D0079AB9}"/>
              </a:ext>
            </a:extLst>
          </p:cNvPr>
          <p:cNvSpPr>
            <a:spLocks noGrp="1"/>
          </p:cNvSpPr>
          <p:nvPr>
            <p:ph type="chart" sz="quarter" idx="13" hasCustomPrompt="1"/>
          </p:nvPr>
        </p:nvSpPr>
        <p:spPr>
          <a:xfrm>
            <a:off x="6374643" y="1587316"/>
            <a:ext cx="5088663" cy="4218172"/>
          </a:xfrm>
          <a:solidFill>
            <a:schemeClr val="bg1">
              <a:lumMod val="95000"/>
            </a:schemeClr>
          </a:solidFill>
        </p:spPr>
        <p:txBody>
          <a:bodyPr tIns="0" bIns="1080000" anchor="ctr" anchorCtr="0"/>
          <a:lstStyle>
            <a:lvl1pPr marL="0" indent="0" algn="ctr">
              <a:buNone/>
              <a:defRPr sz="1200" i="1">
                <a:solidFill>
                  <a:schemeClr val="bg1">
                    <a:lumMod val="50000"/>
                  </a:schemeClr>
                </a:solidFill>
              </a:defRPr>
            </a:lvl1pPr>
          </a:lstStyle>
          <a:p>
            <a:r>
              <a:rPr lang="en-GB"/>
              <a:t>Click on the pictogram below to insert a chart</a:t>
            </a:r>
          </a:p>
        </p:txBody>
      </p:sp>
      <p:sp>
        <p:nvSpPr>
          <p:cNvPr id="9" name="Rechthoek: afgeronde hoeken 8">
            <a:extLst>
              <a:ext uri="{FF2B5EF4-FFF2-40B4-BE49-F238E27FC236}">
                <a16:creationId xmlns:a16="http://schemas.microsoft.com/office/drawing/2014/main" id="{63BADF68-353D-4DA2-BB2E-F5EB4E769F9D}"/>
              </a:ext>
            </a:extLst>
          </p:cNvPr>
          <p:cNvSpPr/>
          <p:nvPr userDrawn="1"/>
        </p:nvSpPr>
        <p:spPr>
          <a:xfrm>
            <a:off x="0" y="-367937"/>
            <a:ext cx="1008161" cy="24622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en-GB" sz="1600" b="1" cap="none" baseline="0" noProof="0">
                <a:solidFill>
                  <a:schemeClr val="accent1"/>
                </a:solidFill>
                <a:latin typeface="+mj-lt"/>
              </a:rPr>
              <a:t>Text + Chart</a:t>
            </a:r>
          </a:p>
        </p:txBody>
      </p:sp>
      <p:sp>
        <p:nvSpPr>
          <p:cNvPr id="162" name="Tijdelijke aanduiding voor tekst 15">
            <a:extLst>
              <a:ext uri="{FF2B5EF4-FFF2-40B4-BE49-F238E27FC236}">
                <a16:creationId xmlns:a16="http://schemas.microsoft.com/office/drawing/2014/main" id="{D32D5C8F-9587-A180-3D00-3270A2E1954B}"/>
              </a:ext>
            </a:extLst>
          </p:cNvPr>
          <p:cNvSpPr>
            <a:spLocks noGrp="1"/>
          </p:cNvSpPr>
          <p:nvPr>
            <p:ph type="body" sz="quarter" idx="14" hasCustomPrompt="1"/>
          </p:nvPr>
        </p:nvSpPr>
        <p:spPr>
          <a:xfrm>
            <a:off x="720000" y="6060536"/>
            <a:ext cx="932400" cy="475200"/>
          </a:xfrm>
          <a:blipFill>
            <a:blip r:embed="rId2"/>
            <a:stretch>
              <a:fillRect/>
            </a:stretch>
          </a:blipFill>
        </p:spPr>
        <p:txBody>
          <a:bodyPr/>
          <a:lstStyle>
            <a:lvl1pPr marL="0" indent="0">
              <a:buNone/>
              <a:defRPr sz="100"/>
            </a:lvl1pPr>
          </a:lstStyle>
          <a:p>
            <a:pPr lvl="0"/>
            <a:r>
              <a:rPr lang="en-GB"/>
              <a:t> </a:t>
            </a:r>
          </a:p>
        </p:txBody>
      </p:sp>
      <p:sp>
        <p:nvSpPr>
          <p:cNvPr id="164" name="Tijdelijke aanduiding voor tekst 12">
            <a:extLst>
              <a:ext uri="{FF2B5EF4-FFF2-40B4-BE49-F238E27FC236}">
                <a16:creationId xmlns:a16="http://schemas.microsoft.com/office/drawing/2014/main" id="{E468CE47-191F-AF66-7FF6-E64C3ABAA6B9}"/>
              </a:ext>
            </a:extLst>
          </p:cNvPr>
          <p:cNvSpPr>
            <a:spLocks noGrp="1"/>
          </p:cNvSpPr>
          <p:nvPr>
            <p:ph type="body" sz="quarter" idx="18" hasCustomPrompt="1"/>
          </p:nvPr>
        </p:nvSpPr>
        <p:spPr>
          <a:xfrm>
            <a:off x="708207" y="707795"/>
            <a:ext cx="36000" cy="396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buNone/>
              <a:defRPr sz="100"/>
            </a:lvl1pPr>
          </a:lstStyle>
          <a:p>
            <a:pPr lvl="0"/>
            <a:r>
              <a:rPr lang="en-GB"/>
              <a:t> </a:t>
            </a:r>
          </a:p>
        </p:txBody>
      </p:sp>
      <p:sp>
        <p:nvSpPr>
          <p:cNvPr id="165" name="Tijdelijke aanduiding voor titel 1">
            <a:extLst>
              <a:ext uri="{FF2B5EF4-FFF2-40B4-BE49-F238E27FC236}">
                <a16:creationId xmlns:a16="http://schemas.microsoft.com/office/drawing/2014/main" id="{357C814E-74E7-F980-B291-B262ED184DFB}"/>
              </a:ext>
            </a:extLst>
          </p:cNvPr>
          <p:cNvSpPr>
            <a:spLocks noGrp="1"/>
          </p:cNvSpPr>
          <p:nvPr>
            <p:ph type="title" hasCustomPrompt="1"/>
          </p:nvPr>
        </p:nvSpPr>
        <p:spPr>
          <a:xfrm>
            <a:off x="865163" y="722313"/>
            <a:ext cx="10606838" cy="342211"/>
          </a:xfrm>
          <a:prstGeom prst="rect">
            <a:avLst/>
          </a:prstGeom>
        </p:spPr>
        <p:txBody>
          <a:bodyPr vert="horz" lIns="0" tIns="0" rIns="0" bIns="0" rtlCol="0" anchor="t">
            <a:noAutofit/>
          </a:bodyPr>
          <a:lstStyle/>
          <a:p>
            <a:r>
              <a:rPr lang="en-GB" noProof="0"/>
              <a:t>Place the title of the slide here</a:t>
            </a:r>
          </a:p>
        </p:txBody>
      </p:sp>
      <p:sp>
        <p:nvSpPr>
          <p:cNvPr id="77" name="Tijdelijke aanduiding voor tekst 2">
            <a:extLst>
              <a:ext uri="{FF2B5EF4-FFF2-40B4-BE49-F238E27FC236}">
                <a16:creationId xmlns:a16="http://schemas.microsoft.com/office/drawing/2014/main" id="{3F0D1914-3129-B98B-381A-52BC620A28CF}"/>
              </a:ext>
            </a:extLst>
          </p:cNvPr>
          <p:cNvSpPr>
            <a:spLocks noGrp="1"/>
          </p:cNvSpPr>
          <p:nvPr>
            <p:ph idx="1"/>
          </p:nvPr>
        </p:nvSpPr>
        <p:spPr>
          <a:xfrm>
            <a:off x="864613" y="1768035"/>
            <a:ext cx="4814291" cy="3885028"/>
          </a:xfrm>
          <a:prstGeom prst="rect">
            <a:avLst/>
          </a:prstGeom>
        </p:spPr>
        <p:txBody>
          <a:bodyPr vert="horz" lIns="0" tIns="0" rIns="0" bIns="0" rtlCol="0">
            <a:noAutofit/>
          </a:bodyPr>
          <a:lstStyle/>
          <a:p>
            <a:pPr lvl="0"/>
            <a:r>
              <a:rPr lang="en-GB" noProof="0"/>
              <a:t>Plain text #1</a:t>
            </a:r>
          </a:p>
          <a:p>
            <a:pPr lvl="1"/>
            <a:r>
              <a:rPr lang="en-GB" noProof="0"/>
              <a:t>Plain text #2</a:t>
            </a:r>
          </a:p>
          <a:p>
            <a:pPr lvl="2"/>
            <a:r>
              <a:rPr lang="en-GB" noProof="0"/>
              <a:t>Heading #1</a:t>
            </a:r>
          </a:p>
          <a:p>
            <a:pPr lvl="3"/>
            <a:r>
              <a:rPr lang="en-GB" noProof="0" err="1"/>
              <a:t>Tekst</a:t>
            </a:r>
            <a:endParaRPr lang="en-GB" noProof="0"/>
          </a:p>
          <a:p>
            <a:pPr lvl="4"/>
            <a:r>
              <a:rPr lang="en-GB" noProof="0"/>
              <a:t>Heading #3</a:t>
            </a:r>
          </a:p>
          <a:p>
            <a:pPr lvl="5"/>
            <a:r>
              <a:rPr lang="en-GB" noProof="0"/>
              <a:t>Heading #4</a:t>
            </a:r>
          </a:p>
          <a:p>
            <a:pPr lvl="6"/>
            <a:r>
              <a:rPr lang="en-GB" noProof="0"/>
              <a:t>Numbers</a:t>
            </a:r>
          </a:p>
          <a:p>
            <a:pPr lvl="7"/>
            <a:r>
              <a:rPr lang="en-GB" noProof="0"/>
              <a:t>Letters</a:t>
            </a:r>
          </a:p>
          <a:p>
            <a:pPr marL="0" marR="0" lvl="8" indent="0" algn="l" defTabSz="914400" rtl="0" eaLnBrk="1" fontAlgn="auto" latinLnBrk="0" hangingPunct="1">
              <a:lnSpc>
                <a:spcPct val="90000"/>
              </a:lnSpc>
              <a:spcBef>
                <a:spcPts val="600"/>
              </a:spcBef>
              <a:spcAft>
                <a:spcPts val="600"/>
              </a:spcAft>
              <a:buClr>
                <a:schemeClr val="tx2"/>
              </a:buClr>
              <a:buSzTx/>
              <a:buFontTx/>
              <a:buNone/>
              <a:tabLst/>
              <a:defRPr/>
            </a:pPr>
            <a:r>
              <a:rPr lang="en-GB" noProof="0" err="1"/>
              <a:t>Bronvermelding</a:t>
            </a:r>
            <a:endParaRPr lang="en-GB" noProof="0"/>
          </a:p>
        </p:txBody>
      </p:sp>
    </p:spTree>
    <p:extLst>
      <p:ext uri="{BB962C8B-B14F-4D97-AF65-F5344CB8AC3E}">
        <p14:creationId xmlns:p14="http://schemas.microsoft.com/office/powerpoint/2010/main" val="1497444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 ZI">
    <p:spTree>
      <p:nvGrpSpPr>
        <p:cNvPr id="1" name=""/>
        <p:cNvGrpSpPr/>
        <p:nvPr/>
      </p:nvGrpSpPr>
      <p:grpSpPr>
        <a:xfrm>
          <a:off x="0" y="0"/>
          <a:ext cx="0" cy="0"/>
          <a:chOff x="0" y="0"/>
          <a:chExt cx="0" cy="0"/>
        </a:xfrm>
      </p:grpSpPr>
      <p:sp>
        <p:nvSpPr>
          <p:cNvPr id="18" name="Tijdelijke aanduiding voor grafiek 17">
            <a:extLst>
              <a:ext uri="{FF2B5EF4-FFF2-40B4-BE49-F238E27FC236}">
                <a16:creationId xmlns:a16="http://schemas.microsoft.com/office/drawing/2014/main" id="{FBAE20DA-BB0F-413F-A532-86A4D0079AB9}"/>
              </a:ext>
            </a:extLst>
          </p:cNvPr>
          <p:cNvSpPr>
            <a:spLocks noGrp="1"/>
          </p:cNvSpPr>
          <p:nvPr>
            <p:ph type="chart" sz="quarter" idx="13" hasCustomPrompt="1"/>
          </p:nvPr>
        </p:nvSpPr>
        <p:spPr>
          <a:xfrm>
            <a:off x="720000" y="1592263"/>
            <a:ext cx="10740163" cy="4213225"/>
          </a:xfrm>
          <a:solidFill>
            <a:schemeClr val="bg1">
              <a:lumMod val="95000"/>
            </a:schemeClr>
          </a:solidFill>
        </p:spPr>
        <p:txBody>
          <a:bodyPr tIns="0" bIns="1080000" anchor="ctr" anchorCtr="0"/>
          <a:lstStyle>
            <a:lvl1pPr marL="0" indent="0" algn="ctr">
              <a:buNone/>
              <a:defRPr sz="1200" i="1">
                <a:solidFill>
                  <a:schemeClr val="bg1">
                    <a:lumMod val="50000"/>
                  </a:schemeClr>
                </a:solidFill>
              </a:defRPr>
            </a:lvl1pPr>
          </a:lstStyle>
          <a:p>
            <a:r>
              <a:rPr lang="en-GB"/>
              <a:t>Click on the pictogram below to insert a chart</a:t>
            </a:r>
          </a:p>
        </p:txBody>
      </p:sp>
      <p:sp>
        <p:nvSpPr>
          <p:cNvPr id="8" name="Rechthoek: afgeronde hoeken 7">
            <a:extLst>
              <a:ext uri="{FF2B5EF4-FFF2-40B4-BE49-F238E27FC236}">
                <a16:creationId xmlns:a16="http://schemas.microsoft.com/office/drawing/2014/main" id="{B9A342EB-9B41-44C2-B2A9-858B1361CF25}"/>
              </a:ext>
            </a:extLst>
          </p:cNvPr>
          <p:cNvSpPr/>
          <p:nvPr userDrawn="1"/>
        </p:nvSpPr>
        <p:spPr>
          <a:xfrm>
            <a:off x="0" y="-367937"/>
            <a:ext cx="464871" cy="24622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en-GB" sz="1600" b="1" cap="none" baseline="0" noProof="0">
                <a:solidFill>
                  <a:schemeClr val="accent1"/>
                </a:solidFill>
                <a:latin typeface="+mj-lt"/>
              </a:rPr>
              <a:t>Chart</a:t>
            </a:r>
          </a:p>
        </p:txBody>
      </p:sp>
      <p:sp>
        <p:nvSpPr>
          <p:cNvPr id="83" name="Tijdelijke aanduiding voor tekst 15">
            <a:extLst>
              <a:ext uri="{FF2B5EF4-FFF2-40B4-BE49-F238E27FC236}">
                <a16:creationId xmlns:a16="http://schemas.microsoft.com/office/drawing/2014/main" id="{579430E7-8EBE-56B9-E78A-5EC29B7D7BF5}"/>
              </a:ext>
            </a:extLst>
          </p:cNvPr>
          <p:cNvSpPr>
            <a:spLocks noGrp="1"/>
          </p:cNvSpPr>
          <p:nvPr>
            <p:ph type="body" sz="quarter" idx="14" hasCustomPrompt="1"/>
          </p:nvPr>
        </p:nvSpPr>
        <p:spPr>
          <a:xfrm>
            <a:off x="720000" y="6060536"/>
            <a:ext cx="932400" cy="475200"/>
          </a:xfrm>
          <a:blipFill>
            <a:blip r:embed="rId2"/>
            <a:stretch>
              <a:fillRect/>
            </a:stretch>
          </a:blipFill>
        </p:spPr>
        <p:txBody>
          <a:bodyPr/>
          <a:lstStyle>
            <a:lvl1pPr marL="0" indent="0">
              <a:buNone/>
              <a:defRPr sz="100"/>
            </a:lvl1pPr>
          </a:lstStyle>
          <a:p>
            <a:pPr lvl="0"/>
            <a:r>
              <a:rPr lang="en-GB"/>
              <a:t> </a:t>
            </a:r>
          </a:p>
        </p:txBody>
      </p:sp>
      <p:sp>
        <p:nvSpPr>
          <p:cNvPr id="88" name="Tijdelijke aanduiding voor tekst 12">
            <a:extLst>
              <a:ext uri="{FF2B5EF4-FFF2-40B4-BE49-F238E27FC236}">
                <a16:creationId xmlns:a16="http://schemas.microsoft.com/office/drawing/2014/main" id="{8A475433-777F-81AD-34FE-923D1959FA66}"/>
              </a:ext>
            </a:extLst>
          </p:cNvPr>
          <p:cNvSpPr>
            <a:spLocks noGrp="1"/>
          </p:cNvSpPr>
          <p:nvPr>
            <p:ph type="body" sz="quarter" idx="18" hasCustomPrompt="1"/>
          </p:nvPr>
        </p:nvSpPr>
        <p:spPr>
          <a:xfrm>
            <a:off x="708207" y="707795"/>
            <a:ext cx="36000" cy="396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buNone/>
              <a:defRPr sz="100"/>
            </a:lvl1pPr>
          </a:lstStyle>
          <a:p>
            <a:pPr lvl="0"/>
            <a:r>
              <a:rPr lang="en-GB"/>
              <a:t> </a:t>
            </a:r>
          </a:p>
        </p:txBody>
      </p:sp>
      <p:sp>
        <p:nvSpPr>
          <p:cNvPr id="89" name="Tijdelijke aanduiding voor titel 1">
            <a:extLst>
              <a:ext uri="{FF2B5EF4-FFF2-40B4-BE49-F238E27FC236}">
                <a16:creationId xmlns:a16="http://schemas.microsoft.com/office/drawing/2014/main" id="{F25DE2C0-496A-DBF0-54F6-433F88635CC7}"/>
              </a:ext>
            </a:extLst>
          </p:cNvPr>
          <p:cNvSpPr>
            <a:spLocks noGrp="1"/>
          </p:cNvSpPr>
          <p:nvPr>
            <p:ph type="title" hasCustomPrompt="1"/>
          </p:nvPr>
        </p:nvSpPr>
        <p:spPr>
          <a:xfrm>
            <a:off x="865163" y="722313"/>
            <a:ext cx="10606838" cy="342211"/>
          </a:xfrm>
          <a:prstGeom prst="rect">
            <a:avLst/>
          </a:prstGeom>
        </p:spPr>
        <p:txBody>
          <a:bodyPr vert="horz" lIns="0" tIns="0" rIns="0" bIns="0" rtlCol="0" anchor="t">
            <a:noAutofit/>
          </a:bodyPr>
          <a:lstStyle/>
          <a:p>
            <a:r>
              <a:rPr lang="en-GB" noProof="0"/>
              <a:t>Place the title of the slide here</a:t>
            </a:r>
          </a:p>
        </p:txBody>
      </p:sp>
    </p:spTree>
    <p:extLst>
      <p:ext uri="{BB962C8B-B14F-4D97-AF65-F5344CB8AC3E}">
        <p14:creationId xmlns:p14="http://schemas.microsoft.com/office/powerpoint/2010/main" val="1088633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Table - ZI">
    <p:spTree>
      <p:nvGrpSpPr>
        <p:cNvPr id="1" name=""/>
        <p:cNvGrpSpPr/>
        <p:nvPr/>
      </p:nvGrpSpPr>
      <p:grpSpPr>
        <a:xfrm>
          <a:off x="0" y="0"/>
          <a:ext cx="0" cy="0"/>
          <a:chOff x="0" y="0"/>
          <a:chExt cx="0" cy="0"/>
        </a:xfrm>
      </p:grpSpPr>
      <p:sp>
        <p:nvSpPr>
          <p:cNvPr id="17" name="Tijdelijke aanduiding voor tabel 16">
            <a:extLst>
              <a:ext uri="{FF2B5EF4-FFF2-40B4-BE49-F238E27FC236}">
                <a16:creationId xmlns:a16="http://schemas.microsoft.com/office/drawing/2014/main" id="{AC3E0255-315C-47D9-A8A2-220D1CB08F50}"/>
              </a:ext>
            </a:extLst>
          </p:cNvPr>
          <p:cNvSpPr>
            <a:spLocks noGrp="1"/>
          </p:cNvSpPr>
          <p:nvPr>
            <p:ph type="tbl" sz="quarter" idx="13" hasCustomPrompt="1"/>
          </p:nvPr>
        </p:nvSpPr>
        <p:spPr>
          <a:xfrm>
            <a:off x="6411304" y="1600200"/>
            <a:ext cx="5052002" cy="4205288"/>
          </a:xfrm>
          <a:solidFill>
            <a:schemeClr val="bg1">
              <a:lumMod val="95000"/>
            </a:schemeClr>
          </a:solidFill>
        </p:spPr>
        <p:txBody>
          <a:bodyPr tIns="0" bIns="1080000" anchor="ctr" anchorCtr="0"/>
          <a:lstStyle>
            <a:lvl1pPr marL="0" indent="0" algn="ctr">
              <a:buNone/>
              <a:defRPr sz="1200" i="1">
                <a:solidFill>
                  <a:schemeClr val="bg1">
                    <a:lumMod val="50000"/>
                  </a:schemeClr>
                </a:solidFill>
              </a:defRPr>
            </a:lvl1pPr>
          </a:lstStyle>
          <a:p>
            <a:r>
              <a:rPr lang="en-GB"/>
              <a:t>Click on the pictogram below to insert a table</a:t>
            </a:r>
          </a:p>
        </p:txBody>
      </p:sp>
      <p:sp>
        <p:nvSpPr>
          <p:cNvPr id="9" name="Rechthoek: afgeronde hoeken 8">
            <a:extLst>
              <a:ext uri="{FF2B5EF4-FFF2-40B4-BE49-F238E27FC236}">
                <a16:creationId xmlns:a16="http://schemas.microsoft.com/office/drawing/2014/main" id="{F49FB710-18E2-402D-96B9-AD8032E6154C}"/>
              </a:ext>
            </a:extLst>
          </p:cNvPr>
          <p:cNvSpPr/>
          <p:nvPr userDrawn="1"/>
        </p:nvSpPr>
        <p:spPr>
          <a:xfrm>
            <a:off x="0" y="-367937"/>
            <a:ext cx="992644" cy="24622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en-GB" sz="1600" b="1" cap="none" baseline="0" noProof="0">
                <a:solidFill>
                  <a:schemeClr val="accent1"/>
                </a:solidFill>
                <a:latin typeface="+mj-lt"/>
              </a:rPr>
              <a:t>Text + Table</a:t>
            </a:r>
          </a:p>
        </p:txBody>
      </p:sp>
      <p:sp>
        <p:nvSpPr>
          <p:cNvPr id="188" name="Tijdelijke aanduiding voor tekst 15">
            <a:extLst>
              <a:ext uri="{FF2B5EF4-FFF2-40B4-BE49-F238E27FC236}">
                <a16:creationId xmlns:a16="http://schemas.microsoft.com/office/drawing/2014/main" id="{2D0FFCF1-E4B3-1F91-A31A-2DC8766D3975}"/>
              </a:ext>
            </a:extLst>
          </p:cNvPr>
          <p:cNvSpPr>
            <a:spLocks noGrp="1"/>
          </p:cNvSpPr>
          <p:nvPr>
            <p:ph type="body" sz="quarter" idx="14" hasCustomPrompt="1"/>
          </p:nvPr>
        </p:nvSpPr>
        <p:spPr>
          <a:xfrm>
            <a:off x="720000" y="6060536"/>
            <a:ext cx="932400" cy="475200"/>
          </a:xfrm>
          <a:blipFill>
            <a:blip r:embed="rId2"/>
            <a:stretch>
              <a:fillRect/>
            </a:stretch>
          </a:blipFill>
        </p:spPr>
        <p:txBody>
          <a:bodyPr/>
          <a:lstStyle>
            <a:lvl1pPr marL="0" indent="0">
              <a:buNone/>
              <a:defRPr sz="100"/>
            </a:lvl1pPr>
          </a:lstStyle>
          <a:p>
            <a:pPr lvl="0"/>
            <a:r>
              <a:rPr lang="en-GB"/>
              <a:t> </a:t>
            </a:r>
          </a:p>
        </p:txBody>
      </p:sp>
      <p:sp>
        <p:nvSpPr>
          <p:cNvPr id="190" name="Tijdelijke aanduiding voor tekst 12">
            <a:extLst>
              <a:ext uri="{FF2B5EF4-FFF2-40B4-BE49-F238E27FC236}">
                <a16:creationId xmlns:a16="http://schemas.microsoft.com/office/drawing/2014/main" id="{4884572F-5538-B8D8-EA3C-C66FB567A0F7}"/>
              </a:ext>
            </a:extLst>
          </p:cNvPr>
          <p:cNvSpPr>
            <a:spLocks noGrp="1"/>
          </p:cNvSpPr>
          <p:nvPr>
            <p:ph type="body" sz="quarter" idx="18" hasCustomPrompt="1"/>
          </p:nvPr>
        </p:nvSpPr>
        <p:spPr>
          <a:xfrm>
            <a:off x="708207" y="707795"/>
            <a:ext cx="36000" cy="396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buNone/>
              <a:defRPr sz="100"/>
            </a:lvl1pPr>
          </a:lstStyle>
          <a:p>
            <a:pPr lvl="0"/>
            <a:r>
              <a:rPr lang="en-GB"/>
              <a:t> </a:t>
            </a:r>
          </a:p>
        </p:txBody>
      </p:sp>
      <p:sp>
        <p:nvSpPr>
          <p:cNvPr id="191" name="Tijdelijke aanduiding voor tekst 10">
            <a:extLst>
              <a:ext uri="{FF2B5EF4-FFF2-40B4-BE49-F238E27FC236}">
                <a16:creationId xmlns:a16="http://schemas.microsoft.com/office/drawing/2014/main" id="{C561E7FB-7044-4D69-F010-3F093F0DF104}"/>
              </a:ext>
            </a:extLst>
          </p:cNvPr>
          <p:cNvSpPr txBox="1">
            <a:spLocks/>
          </p:cNvSpPr>
          <p:nvPr userDrawn="1"/>
        </p:nvSpPr>
        <p:spPr>
          <a:xfrm>
            <a:off x="708207" y="1587316"/>
            <a:ext cx="5256000" cy="4218171"/>
          </a:xfrm>
          <a:prstGeom prst="roundRect">
            <a:avLst>
              <a:gd name="adj" fmla="val 3563"/>
            </a:avLst>
          </a:prstGeom>
          <a:solidFill>
            <a:schemeClr val="bg2">
              <a:alpha val="20000"/>
            </a:schemeClr>
          </a:solidFill>
          <a:ln>
            <a:solidFill>
              <a:schemeClr val="bg2"/>
            </a:solidFill>
          </a:ln>
        </p:spPr>
        <p:txBody>
          <a:bodyPr wrap="square">
            <a:noAutofit/>
          </a:bodyPr>
          <a:lstStyle>
            <a:lvl1pPr marL="0" indent="0" algn="l" defTabSz="914400" rtl="0" eaLnBrk="1" latinLnBrk="0" hangingPunct="1">
              <a:lnSpc>
                <a:spcPct val="90000"/>
              </a:lnSpc>
              <a:spcBef>
                <a:spcPts val="600"/>
              </a:spcBef>
              <a:spcAft>
                <a:spcPts val="600"/>
              </a:spcAft>
              <a:buClr>
                <a:schemeClr val="accent1"/>
              </a:buClr>
              <a:buSzPct val="110000"/>
              <a:buFont typeface="Aptos" panose="020B0004020202020204" pitchFamily="34" charset="0"/>
              <a:buNone/>
              <a:defRPr sz="100" kern="1200">
                <a:solidFill>
                  <a:schemeClr val="tx1"/>
                </a:solidFill>
                <a:latin typeface="+mn-lt"/>
                <a:ea typeface="+mn-ea"/>
                <a:cs typeface="+mn-cs"/>
              </a:defRPr>
            </a:lvl1pPr>
            <a:lvl2pPr marL="355600" indent="-177800" algn="l" defTabSz="914400" rtl="0" eaLnBrk="1" latinLnBrk="0" hangingPunct="1">
              <a:lnSpc>
                <a:spcPct val="90000"/>
              </a:lnSpc>
              <a:spcBef>
                <a:spcPts val="600"/>
              </a:spcBef>
              <a:spcAft>
                <a:spcPts val="600"/>
              </a:spcAft>
              <a:buClr>
                <a:schemeClr val="tx2"/>
              </a:buClr>
              <a:buFont typeface="Aptos" panose="020B0004020202020204" pitchFamily="34" charset="0"/>
              <a:buChar char="•"/>
              <a:tabLst/>
              <a:defRPr sz="1600" kern="1200">
                <a:solidFill>
                  <a:schemeClr val="tx1"/>
                </a:solidFill>
                <a:latin typeface="+mn-lt"/>
                <a:ea typeface="+mn-ea"/>
                <a:cs typeface="+mn-cs"/>
              </a:defRPr>
            </a:lvl2pPr>
            <a:lvl3pPr marL="531813" indent="-176213"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1600" kern="1200">
                <a:solidFill>
                  <a:schemeClr val="tx1"/>
                </a:solidFill>
                <a:latin typeface="+mn-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5"/>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2"/>
                </a:solidFill>
                <a:latin typeface="+mj-lt"/>
                <a:ea typeface="+mn-ea"/>
                <a:cs typeface="+mn-cs"/>
              </a:defRPr>
            </a:lvl6pPr>
            <a:lvl7pPr marL="342900" indent="-342900" algn="l" defTabSz="914400" rtl="0" eaLnBrk="1" latinLnBrk="0" hangingPunct="1">
              <a:lnSpc>
                <a:spcPct val="90000"/>
              </a:lnSpc>
              <a:spcBef>
                <a:spcPts val="600"/>
              </a:spcBef>
              <a:spcAft>
                <a:spcPts val="600"/>
              </a:spcAft>
              <a:buClr>
                <a:schemeClr val="tx2"/>
              </a:buClr>
              <a:buFont typeface="+mj-lt"/>
              <a:buAutoNum type="arabicPeriod"/>
              <a:tabLst/>
              <a:defRPr sz="1600" kern="1200">
                <a:solidFill>
                  <a:schemeClr val="tx1"/>
                </a:solidFill>
                <a:latin typeface="+mn-lt"/>
                <a:ea typeface="+mn-ea"/>
                <a:cs typeface="+mn-cs"/>
              </a:defRPr>
            </a:lvl7pPr>
            <a:lvl8pPr marL="342900" indent="-342900" algn="l" defTabSz="914400" rtl="0" eaLnBrk="1" latinLnBrk="0" hangingPunct="1">
              <a:lnSpc>
                <a:spcPct val="90000"/>
              </a:lnSpc>
              <a:spcBef>
                <a:spcPts val="600"/>
              </a:spcBef>
              <a:spcAft>
                <a:spcPts val="600"/>
              </a:spcAft>
              <a:buClr>
                <a:schemeClr val="tx2"/>
              </a:buClr>
              <a:buFont typeface="+mj-lt"/>
              <a:buAutoNum type="alphaLcPeriod"/>
              <a:defRPr sz="1600" kern="1200">
                <a:solidFill>
                  <a:schemeClr val="tx1"/>
                </a:solidFill>
                <a:latin typeface="+mn-lt"/>
                <a:ea typeface="+mn-ea"/>
                <a:cs typeface="+mn-cs"/>
              </a:defRPr>
            </a:lvl8pPr>
            <a:lvl9pPr marL="541338" indent="-180975"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600" i="0" kern="1200">
                <a:solidFill>
                  <a:schemeClr val="tx1"/>
                </a:solidFill>
                <a:latin typeface="+mn-lt"/>
                <a:ea typeface="+mn-ea"/>
                <a:cs typeface="+mn-cs"/>
              </a:defRPr>
            </a:lvl9pPr>
          </a:lstStyle>
          <a:p>
            <a:r>
              <a:rPr lang="en-GB"/>
              <a:t> </a:t>
            </a:r>
          </a:p>
        </p:txBody>
      </p:sp>
      <p:sp>
        <p:nvSpPr>
          <p:cNvPr id="193" name="Tijdelijke aanduiding voor titel 1">
            <a:extLst>
              <a:ext uri="{FF2B5EF4-FFF2-40B4-BE49-F238E27FC236}">
                <a16:creationId xmlns:a16="http://schemas.microsoft.com/office/drawing/2014/main" id="{769C3E5A-A9E4-BDDE-8141-F68AFBCA019A}"/>
              </a:ext>
            </a:extLst>
          </p:cNvPr>
          <p:cNvSpPr>
            <a:spLocks noGrp="1"/>
          </p:cNvSpPr>
          <p:nvPr>
            <p:ph type="title" hasCustomPrompt="1"/>
          </p:nvPr>
        </p:nvSpPr>
        <p:spPr>
          <a:xfrm>
            <a:off x="865163" y="722313"/>
            <a:ext cx="10606838" cy="342211"/>
          </a:xfrm>
          <a:prstGeom prst="rect">
            <a:avLst/>
          </a:prstGeom>
        </p:spPr>
        <p:txBody>
          <a:bodyPr vert="horz" lIns="0" tIns="0" rIns="0" bIns="0" rtlCol="0" anchor="t">
            <a:noAutofit/>
          </a:bodyPr>
          <a:lstStyle/>
          <a:p>
            <a:r>
              <a:rPr lang="en-GB" noProof="0"/>
              <a:t>Place the title of the slide here</a:t>
            </a:r>
          </a:p>
        </p:txBody>
      </p:sp>
      <p:sp>
        <p:nvSpPr>
          <p:cNvPr id="77" name="Tijdelijke aanduiding voor tekst 2">
            <a:extLst>
              <a:ext uri="{FF2B5EF4-FFF2-40B4-BE49-F238E27FC236}">
                <a16:creationId xmlns:a16="http://schemas.microsoft.com/office/drawing/2014/main" id="{041F2CD3-5AA3-2BD2-0244-3233E44CEF99}"/>
              </a:ext>
            </a:extLst>
          </p:cNvPr>
          <p:cNvSpPr>
            <a:spLocks noGrp="1"/>
          </p:cNvSpPr>
          <p:nvPr>
            <p:ph idx="1"/>
          </p:nvPr>
        </p:nvSpPr>
        <p:spPr>
          <a:xfrm>
            <a:off x="846446" y="1768035"/>
            <a:ext cx="4864021" cy="3902515"/>
          </a:xfrm>
          <a:prstGeom prst="rect">
            <a:avLst/>
          </a:prstGeom>
        </p:spPr>
        <p:txBody>
          <a:bodyPr vert="horz" lIns="0" tIns="0" rIns="0" bIns="0" rtlCol="0">
            <a:noAutofit/>
          </a:bodyPr>
          <a:lstStyle/>
          <a:p>
            <a:pPr lvl="0"/>
            <a:r>
              <a:rPr lang="en-GB" noProof="0"/>
              <a:t>Plain text #1</a:t>
            </a:r>
          </a:p>
          <a:p>
            <a:pPr lvl="1"/>
            <a:r>
              <a:rPr lang="en-GB" noProof="0"/>
              <a:t>Plain text #2</a:t>
            </a:r>
          </a:p>
          <a:p>
            <a:pPr lvl="2"/>
            <a:r>
              <a:rPr lang="en-GB" noProof="0"/>
              <a:t>Heading #1</a:t>
            </a:r>
          </a:p>
          <a:p>
            <a:pPr lvl="3"/>
            <a:r>
              <a:rPr lang="en-GB" noProof="0" err="1"/>
              <a:t>Tekst</a:t>
            </a:r>
            <a:endParaRPr lang="en-GB" noProof="0"/>
          </a:p>
          <a:p>
            <a:pPr lvl="4"/>
            <a:r>
              <a:rPr lang="en-GB" noProof="0"/>
              <a:t>Heading #3</a:t>
            </a:r>
          </a:p>
          <a:p>
            <a:pPr lvl="5"/>
            <a:r>
              <a:rPr lang="en-GB" noProof="0"/>
              <a:t>Heading #4</a:t>
            </a:r>
          </a:p>
          <a:p>
            <a:pPr lvl="6"/>
            <a:r>
              <a:rPr lang="en-GB" noProof="0"/>
              <a:t>Numbers</a:t>
            </a:r>
          </a:p>
          <a:p>
            <a:pPr lvl="7"/>
            <a:r>
              <a:rPr lang="en-GB" noProof="0"/>
              <a:t>Letters</a:t>
            </a:r>
          </a:p>
          <a:p>
            <a:pPr marL="0" marR="0" lvl="8" indent="0" algn="l" defTabSz="914400" rtl="0" eaLnBrk="1" fontAlgn="auto" latinLnBrk="0" hangingPunct="1">
              <a:lnSpc>
                <a:spcPct val="90000"/>
              </a:lnSpc>
              <a:spcBef>
                <a:spcPts val="600"/>
              </a:spcBef>
              <a:spcAft>
                <a:spcPts val="600"/>
              </a:spcAft>
              <a:buClr>
                <a:schemeClr val="tx2"/>
              </a:buClr>
              <a:buSzTx/>
              <a:buFontTx/>
              <a:buNone/>
              <a:tabLst/>
              <a:defRPr/>
            </a:pPr>
            <a:r>
              <a:rPr lang="en-GB" noProof="0" err="1"/>
              <a:t>Bronvermelding</a:t>
            </a:r>
            <a:endParaRPr lang="en-GB" noProof="0"/>
          </a:p>
        </p:txBody>
      </p:sp>
    </p:spTree>
    <p:extLst>
      <p:ext uri="{BB962C8B-B14F-4D97-AF65-F5344CB8AC3E}">
        <p14:creationId xmlns:p14="http://schemas.microsoft.com/office/powerpoint/2010/main" val="371859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able - ZI">
    <p:spTree>
      <p:nvGrpSpPr>
        <p:cNvPr id="1" name=""/>
        <p:cNvGrpSpPr/>
        <p:nvPr/>
      </p:nvGrpSpPr>
      <p:grpSpPr>
        <a:xfrm>
          <a:off x="0" y="0"/>
          <a:ext cx="0" cy="0"/>
          <a:chOff x="0" y="0"/>
          <a:chExt cx="0" cy="0"/>
        </a:xfrm>
      </p:grpSpPr>
      <p:sp>
        <p:nvSpPr>
          <p:cNvPr id="17" name="Tijdelijke aanduiding voor tabel 16">
            <a:extLst>
              <a:ext uri="{FF2B5EF4-FFF2-40B4-BE49-F238E27FC236}">
                <a16:creationId xmlns:a16="http://schemas.microsoft.com/office/drawing/2014/main" id="{AC3E0255-315C-47D9-A8A2-220D1CB08F50}"/>
              </a:ext>
            </a:extLst>
          </p:cNvPr>
          <p:cNvSpPr>
            <a:spLocks noGrp="1"/>
          </p:cNvSpPr>
          <p:nvPr>
            <p:ph type="tbl" sz="quarter" idx="13" hasCustomPrompt="1"/>
          </p:nvPr>
        </p:nvSpPr>
        <p:spPr>
          <a:xfrm>
            <a:off x="720000" y="1592263"/>
            <a:ext cx="10752000" cy="4213225"/>
          </a:xfrm>
          <a:solidFill>
            <a:schemeClr val="bg1">
              <a:lumMod val="95000"/>
            </a:schemeClr>
          </a:solidFill>
        </p:spPr>
        <p:txBody>
          <a:bodyPr tIns="0" bIns="1080000" anchor="ctr" anchorCtr="0"/>
          <a:lstStyle>
            <a:lvl1pPr marL="0" indent="0" algn="ctr">
              <a:buNone/>
              <a:defRPr sz="1200" i="1">
                <a:solidFill>
                  <a:schemeClr val="bg1">
                    <a:lumMod val="50000"/>
                  </a:schemeClr>
                </a:solidFill>
              </a:defRPr>
            </a:lvl1pPr>
          </a:lstStyle>
          <a:p>
            <a:r>
              <a:rPr lang="en-GB"/>
              <a:t>Click on the pictogram below to insert a table</a:t>
            </a:r>
          </a:p>
        </p:txBody>
      </p:sp>
      <p:sp>
        <p:nvSpPr>
          <p:cNvPr id="8" name="Rechthoek: afgeronde hoeken 7">
            <a:extLst>
              <a:ext uri="{FF2B5EF4-FFF2-40B4-BE49-F238E27FC236}">
                <a16:creationId xmlns:a16="http://schemas.microsoft.com/office/drawing/2014/main" id="{212E345A-A902-49E6-B076-DB78F9787E96}"/>
              </a:ext>
            </a:extLst>
          </p:cNvPr>
          <p:cNvSpPr/>
          <p:nvPr userDrawn="1"/>
        </p:nvSpPr>
        <p:spPr>
          <a:xfrm>
            <a:off x="0" y="-367937"/>
            <a:ext cx="449354" cy="24622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en-GB" sz="1600" b="1" cap="none" baseline="0" noProof="0">
                <a:solidFill>
                  <a:schemeClr val="accent1"/>
                </a:solidFill>
                <a:latin typeface="+mj-lt"/>
              </a:rPr>
              <a:t>Table</a:t>
            </a:r>
          </a:p>
        </p:txBody>
      </p:sp>
      <p:sp>
        <p:nvSpPr>
          <p:cNvPr id="114" name="Tijdelijke aanduiding voor tekst 15">
            <a:extLst>
              <a:ext uri="{FF2B5EF4-FFF2-40B4-BE49-F238E27FC236}">
                <a16:creationId xmlns:a16="http://schemas.microsoft.com/office/drawing/2014/main" id="{BFDCCA62-F731-F049-66D2-2EE27A0432B0}"/>
              </a:ext>
            </a:extLst>
          </p:cNvPr>
          <p:cNvSpPr>
            <a:spLocks noGrp="1"/>
          </p:cNvSpPr>
          <p:nvPr>
            <p:ph type="body" sz="quarter" idx="14" hasCustomPrompt="1"/>
          </p:nvPr>
        </p:nvSpPr>
        <p:spPr>
          <a:xfrm>
            <a:off x="720000" y="6060536"/>
            <a:ext cx="932400" cy="475200"/>
          </a:xfrm>
          <a:blipFill>
            <a:blip r:embed="rId2"/>
            <a:stretch>
              <a:fillRect/>
            </a:stretch>
          </a:blipFill>
        </p:spPr>
        <p:txBody>
          <a:bodyPr/>
          <a:lstStyle>
            <a:lvl1pPr marL="0" indent="0">
              <a:buNone/>
              <a:defRPr sz="100"/>
            </a:lvl1pPr>
          </a:lstStyle>
          <a:p>
            <a:pPr lvl="0"/>
            <a:r>
              <a:rPr lang="en-GB"/>
              <a:t> </a:t>
            </a:r>
          </a:p>
        </p:txBody>
      </p:sp>
      <p:sp>
        <p:nvSpPr>
          <p:cNvPr id="116" name="Tijdelijke aanduiding voor tekst 12">
            <a:extLst>
              <a:ext uri="{FF2B5EF4-FFF2-40B4-BE49-F238E27FC236}">
                <a16:creationId xmlns:a16="http://schemas.microsoft.com/office/drawing/2014/main" id="{FFA6DD61-9692-A724-CC01-3518C9BC7D97}"/>
              </a:ext>
            </a:extLst>
          </p:cNvPr>
          <p:cNvSpPr>
            <a:spLocks noGrp="1"/>
          </p:cNvSpPr>
          <p:nvPr>
            <p:ph type="body" sz="quarter" idx="18" hasCustomPrompt="1"/>
          </p:nvPr>
        </p:nvSpPr>
        <p:spPr>
          <a:xfrm>
            <a:off x="708207" y="707795"/>
            <a:ext cx="36000" cy="396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buNone/>
              <a:defRPr sz="100"/>
            </a:lvl1pPr>
          </a:lstStyle>
          <a:p>
            <a:pPr lvl="0"/>
            <a:r>
              <a:rPr lang="en-GB"/>
              <a:t> </a:t>
            </a:r>
          </a:p>
        </p:txBody>
      </p:sp>
      <p:sp>
        <p:nvSpPr>
          <p:cNvPr id="117" name="Tijdelijke aanduiding voor titel 1">
            <a:extLst>
              <a:ext uri="{FF2B5EF4-FFF2-40B4-BE49-F238E27FC236}">
                <a16:creationId xmlns:a16="http://schemas.microsoft.com/office/drawing/2014/main" id="{58907242-505A-703E-E86E-4C5345275827}"/>
              </a:ext>
            </a:extLst>
          </p:cNvPr>
          <p:cNvSpPr>
            <a:spLocks noGrp="1"/>
          </p:cNvSpPr>
          <p:nvPr>
            <p:ph type="title" hasCustomPrompt="1"/>
          </p:nvPr>
        </p:nvSpPr>
        <p:spPr>
          <a:xfrm>
            <a:off x="865163" y="722313"/>
            <a:ext cx="10606838" cy="342211"/>
          </a:xfrm>
          <a:prstGeom prst="rect">
            <a:avLst/>
          </a:prstGeom>
        </p:spPr>
        <p:txBody>
          <a:bodyPr vert="horz" lIns="0" tIns="0" rIns="0" bIns="0" rtlCol="0" anchor="t">
            <a:noAutofit/>
          </a:bodyPr>
          <a:lstStyle/>
          <a:p>
            <a:r>
              <a:rPr lang="en-GB" noProof="0"/>
              <a:t>Place the title of the slide here</a:t>
            </a:r>
          </a:p>
        </p:txBody>
      </p:sp>
    </p:spTree>
    <p:extLst>
      <p:ext uri="{BB962C8B-B14F-4D97-AF65-F5344CB8AC3E}">
        <p14:creationId xmlns:p14="http://schemas.microsoft.com/office/powerpoint/2010/main" val="1876650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 ZI">
    <p:spTree>
      <p:nvGrpSpPr>
        <p:cNvPr id="1" name=""/>
        <p:cNvGrpSpPr/>
        <p:nvPr/>
      </p:nvGrpSpPr>
      <p:grpSpPr>
        <a:xfrm>
          <a:off x="0" y="0"/>
          <a:ext cx="0" cy="0"/>
          <a:chOff x="0" y="0"/>
          <a:chExt cx="0" cy="0"/>
        </a:xfrm>
      </p:grpSpPr>
      <p:sp>
        <p:nvSpPr>
          <p:cNvPr id="18" name="Tijdelijke aanduiding voor media 17">
            <a:extLst>
              <a:ext uri="{FF2B5EF4-FFF2-40B4-BE49-F238E27FC236}">
                <a16:creationId xmlns:a16="http://schemas.microsoft.com/office/drawing/2014/main" id="{90C20542-8FBD-606F-EC56-4FD27E60CD2E}"/>
              </a:ext>
            </a:extLst>
          </p:cNvPr>
          <p:cNvSpPr>
            <a:spLocks noGrp="1"/>
          </p:cNvSpPr>
          <p:nvPr>
            <p:ph type="media" sz="quarter" idx="13" hasCustomPrompt="1"/>
          </p:nvPr>
        </p:nvSpPr>
        <p:spPr>
          <a:xfrm>
            <a:off x="193040" y="208281"/>
            <a:ext cx="11805920" cy="6441440"/>
          </a:xfrm>
          <a:custGeom>
            <a:avLst/>
            <a:gdLst>
              <a:gd name="connsiteX0" fmla="*/ 229509 w 11805920"/>
              <a:gd name="connsiteY0" fmla="*/ 0 h 6441440"/>
              <a:gd name="connsiteX1" fmla="*/ 11576411 w 11805920"/>
              <a:gd name="connsiteY1" fmla="*/ 0 h 6441440"/>
              <a:gd name="connsiteX2" fmla="*/ 11805920 w 11805920"/>
              <a:gd name="connsiteY2" fmla="*/ 229509 h 6441440"/>
              <a:gd name="connsiteX3" fmla="*/ 11805920 w 11805920"/>
              <a:gd name="connsiteY3" fmla="*/ 6211931 h 6441440"/>
              <a:gd name="connsiteX4" fmla="*/ 11576411 w 11805920"/>
              <a:gd name="connsiteY4" fmla="*/ 6441440 h 6441440"/>
              <a:gd name="connsiteX5" fmla="*/ 229509 w 11805920"/>
              <a:gd name="connsiteY5" fmla="*/ 6441440 h 6441440"/>
              <a:gd name="connsiteX6" fmla="*/ 0 w 11805920"/>
              <a:gd name="connsiteY6" fmla="*/ 6211931 h 6441440"/>
              <a:gd name="connsiteX7" fmla="*/ 0 w 11805920"/>
              <a:gd name="connsiteY7" fmla="*/ 229509 h 6441440"/>
              <a:gd name="connsiteX8" fmla="*/ 229509 w 11805920"/>
              <a:gd name="connsiteY8" fmla="*/ 0 h 6441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5920" h="6441440">
                <a:moveTo>
                  <a:pt x="229509" y="0"/>
                </a:moveTo>
                <a:lnTo>
                  <a:pt x="11576411" y="0"/>
                </a:lnTo>
                <a:cubicBezTo>
                  <a:pt x="11703165" y="0"/>
                  <a:pt x="11805920" y="102755"/>
                  <a:pt x="11805920" y="229509"/>
                </a:cubicBezTo>
                <a:lnTo>
                  <a:pt x="11805920" y="6211931"/>
                </a:lnTo>
                <a:cubicBezTo>
                  <a:pt x="11805920" y="6338685"/>
                  <a:pt x="11703165" y="6441440"/>
                  <a:pt x="11576411" y="6441440"/>
                </a:cubicBezTo>
                <a:lnTo>
                  <a:pt x="229509" y="6441440"/>
                </a:lnTo>
                <a:cubicBezTo>
                  <a:pt x="102755" y="6441440"/>
                  <a:pt x="0" y="6338685"/>
                  <a:pt x="0" y="6211931"/>
                </a:cubicBezTo>
                <a:lnTo>
                  <a:pt x="0" y="229509"/>
                </a:lnTo>
                <a:cubicBezTo>
                  <a:pt x="0" y="102755"/>
                  <a:pt x="102755" y="0"/>
                  <a:pt x="229509" y="0"/>
                </a:cubicBezTo>
                <a:close/>
              </a:path>
            </a:pathLst>
          </a:custGeom>
          <a:solidFill>
            <a:schemeClr val="bg1">
              <a:lumMod val="95000"/>
            </a:schemeClr>
          </a:solidFill>
        </p:spPr>
        <p:txBody>
          <a:bodyPr wrap="square" tIns="0" bIns="1080000" anchor="ctr" anchorCtr="0">
            <a:noAutofit/>
          </a:bodyPr>
          <a:lstStyle>
            <a:lvl1pPr marL="0" indent="0" algn="ctr">
              <a:buNone/>
              <a:defRPr sz="1200" i="1">
                <a:solidFill>
                  <a:schemeClr val="bg1">
                    <a:lumMod val="50000"/>
                  </a:schemeClr>
                </a:solidFill>
              </a:defRPr>
            </a:lvl1pPr>
          </a:lstStyle>
          <a:p>
            <a:r>
              <a:rPr lang="en-GB"/>
              <a:t>Click on the pictogram below to insert a video</a:t>
            </a:r>
          </a:p>
        </p:txBody>
      </p:sp>
      <p:sp>
        <p:nvSpPr>
          <p:cNvPr id="8" name="Rechthoek: afgeronde hoeken 7">
            <a:extLst>
              <a:ext uri="{FF2B5EF4-FFF2-40B4-BE49-F238E27FC236}">
                <a16:creationId xmlns:a16="http://schemas.microsoft.com/office/drawing/2014/main" id="{2E1C8AC8-04B4-446D-A79B-1E7D02AFC6C6}"/>
              </a:ext>
            </a:extLst>
          </p:cNvPr>
          <p:cNvSpPr/>
          <p:nvPr userDrawn="1"/>
        </p:nvSpPr>
        <p:spPr>
          <a:xfrm>
            <a:off x="0" y="-367937"/>
            <a:ext cx="495328" cy="24622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en-GB" sz="1600" b="1" cap="none" baseline="0" noProof="0">
                <a:solidFill>
                  <a:schemeClr val="accent1"/>
                </a:solidFill>
                <a:latin typeface="+mj-lt"/>
              </a:rPr>
              <a:t>Video</a:t>
            </a:r>
          </a:p>
        </p:txBody>
      </p:sp>
      <p:sp>
        <p:nvSpPr>
          <p:cNvPr id="124" name="Tijdelijke aanduiding voor tekst 15">
            <a:extLst>
              <a:ext uri="{FF2B5EF4-FFF2-40B4-BE49-F238E27FC236}">
                <a16:creationId xmlns:a16="http://schemas.microsoft.com/office/drawing/2014/main" id="{75CCF85D-1CA7-297E-3348-700D8D20D7E6}"/>
              </a:ext>
            </a:extLst>
          </p:cNvPr>
          <p:cNvSpPr>
            <a:spLocks noGrp="1"/>
          </p:cNvSpPr>
          <p:nvPr>
            <p:ph type="body" sz="quarter" idx="14" hasCustomPrompt="1"/>
          </p:nvPr>
        </p:nvSpPr>
        <p:spPr>
          <a:xfrm>
            <a:off x="720000" y="6060536"/>
            <a:ext cx="932400" cy="475200"/>
          </a:xfrm>
          <a:blipFill>
            <a:blip r:embed="rId2"/>
            <a:stretch>
              <a:fillRect/>
            </a:stretch>
          </a:blipFill>
        </p:spPr>
        <p:txBody>
          <a:bodyPr/>
          <a:lstStyle>
            <a:lvl1pPr marL="0" indent="0">
              <a:buNone/>
              <a:defRPr sz="100"/>
            </a:lvl1pPr>
          </a:lstStyle>
          <a:p>
            <a:pPr lvl="0"/>
            <a:r>
              <a:rPr lang="en-GB"/>
              <a:t> </a:t>
            </a:r>
          </a:p>
        </p:txBody>
      </p:sp>
      <p:sp>
        <p:nvSpPr>
          <p:cNvPr id="126" name="Tijdelijke aanduiding voor tekst 12">
            <a:extLst>
              <a:ext uri="{FF2B5EF4-FFF2-40B4-BE49-F238E27FC236}">
                <a16:creationId xmlns:a16="http://schemas.microsoft.com/office/drawing/2014/main" id="{31730B5A-B286-950B-1153-63AE9FAF0BA9}"/>
              </a:ext>
            </a:extLst>
          </p:cNvPr>
          <p:cNvSpPr>
            <a:spLocks noGrp="1"/>
          </p:cNvSpPr>
          <p:nvPr>
            <p:ph type="body" sz="quarter" idx="18" hasCustomPrompt="1"/>
          </p:nvPr>
        </p:nvSpPr>
        <p:spPr>
          <a:xfrm>
            <a:off x="708207" y="707795"/>
            <a:ext cx="36000" cy="396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buNone/>
              <a:defRPr sz="100"/>
            </a:lvl1pPr>
          </a:lstStyle>
          <a:p>
            <a:pPr lvl="0"/>
            <a:r>
              <a:rPr lang="en-GB"/>
              <a:t> </a:t>
            </a:r>
          </a:p>
        </p:txBody>
      </p:sp>
      <p:sp>
        <p:nvSpPr>
          <p:cNvPr id="127" name="Tijdelijke aanduiding voor titel 1">
            <a:extLst>
              <a:ext uri="{FF2B5EF4-FFF2-40B4-BE49-F238E27FC236}">
                <a16:creationId xmlns:a16="http://schemas.microsoft.com/office/drawing/2014/main" id="{CDE5DA8E-7239-158F-477B-70EB024040ED}"/>
              </a:ext>
            </a:extLst>
          </p:cNvPr>
          <p:cNvSpPr>
            <a:spLocks noGrp="1"/>
          </p:cNvSpPr>
          <p:nvPr>
            <p:ph type="title" hasCustomPrompt="1"/>
          </p:nvPr>
        </p:nvSpPr>
        <p:spPr>
          <a:xfrm>
            <a:off x="865163" y="722313"/>
            <a:ext cx="10606838" cy="342211"/>
          </a:xfrm>
          <a:prstGeom prst="rect">
            <a:avLst/>
          </a:prstGeom>
        </p:spPr>
        <p:txBody>
          <a:bodyPr vert="horz" lIns="0" tIns="0" rIns="0" bIns="0" rtlCol="0" anchor="t">
            <a:noAutofit/>
          </a:bodyPr>
          <a:lstStyle/>
          <a:p>
            <a:r>
              <a:rPr lang="en-GB" noProof="0"/>
              <a:t>Place the title of the slide here</a:t>
            </a:r>
          </a:p>
        </p:txBody>
      </p:sp>
    </p:spTree>
    <p:extLst>
      <p:ext uri="{BB962C8B-B14F-4D97-AF65-F5344CB8AC3E}">
        <p14:creationId xmlns:p14="http://schemas.microsoft.com/office/powerpoint/2010/main" val="4158541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1 - ZI">
    <p:spTree>
      <p:nvGrpSpPr>
        <p:cNvPr id="1" name=""/>
        <p:cNvGrpSpPr/>
        <p:nvPr/>
      </p:nvGrpSpPr>
      <p:grpSpPr>
        <a:xfrm>
          <a:off x="0" y="0"/>
          <a:ext cx="0" cy="0"/>
          <a:chOff x="0" y="0"/>
          <a:chExt cx="0" cy="0"/>
        </a:xfrm>
      </p:grpSpPr>
      <p:sp>
        <p:nvSpPr>
          <p:cNvPr id="7" name="Rechthoek: afgeronde hoeken 6">
            <a:extLst>
              <a:ext uri="{FF2B5EF4-FFF2-40B4-BE49-F238E27FC236}">
                <a16:creationId xmlns:a16="http://schemas.microsoft.com/office/drawing/2014/main" id="{EE82F239-2B35-4039-9A61-4FB8C953EA19}"/>
              </a:ext>
            </a:extLst>
          </p:cNvPr>
          <p:cNvSpPr/>
          <p:nvPr userDrawn="1"/>
        </p:nvSpPr>
        <p:spPr>
          <a:xfrm>
            <a:off x="0" y="-367937"/>
            <a:ext cx="1041952" cy="24622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en-GB" sz="1600" b="1" cap="none" baseline="0" noProof="0">
                <a:solidFill>
                  <a:schemeClr val="accent1"/>
                </a:solidFill>
                <a:latin typeface="+mj-lt"/>
              </a:rPr>
              <a:t>Title only #1</a:t>
            </a:r>
          </a:p>
        </p:txBody>
      </p:sp>
      <p:sp>
        <p:nvSpPr>
          <p:cNvPr id="5" name="Tijdelijke aanduiding voor tekst 15">
            <a:extLst>
              <a:ext uri="{FF2B5EF4-FFF2-40B4-BE49-F238E27FC236}">
                <a16:creationId xmlns:a16="http://schemas.microsoft.com/office/drawing/2014/main" id="{1573DD9B-8FD8-C1EC-787F-42558CEE97FA}"/>
              </a:ext>
            </a:extLst>
          </p:cNvPr>
          <p:cNvSpPr>
            <a:spLocks noGrp="1"/>
          </p:cNvSpPr>
          <p:nvPr>
            <p:ph type="body" sz="quarter" idx="14" hasCustomPrompt="1"/>
          </p:nvPr>
        </p:nvSpPr>
        <p:spPr>
          <a:xfrm>
            <a:off x="720000" y="6060536"/>
            <a:ext cx="932400" cy="475200"/>
          </a:xfrm>
          <a:blipFill>
            <a:blip r:embed="rId2"/>
            <a:stretch>
              <a:fillRect/>
            </a:stretch>
          </a:blipFill>
        </p:spPr>
        <p:txBody>
          <a:bodyPr/>
          <a:lstStyle>
            <a:lvl1pPr marL="0" indent="0">
              <a:buNone/>
              <a:defRPr sz="100"/>
            </a:lvl1pPr>
          </a:lstStyle>
          <a:p>
            <a:pPr lvl="0"/>
            <a:r>
              <a:rPr lang="en-GB"/>
              <a:t> </a:t>
            </a:r>
          </a:p>
        </p:txBody>
      </p:sp>
      <p:sp>
        <p:nvSpPr>
          <p:cNvPr id="2" name="Tijdelijke aanduiding voor tekst 12">
            <a:extLst>
              <a:ext uri="{FF2B5EF4-FFF2-40B4-BE49-F238E27FC236}">
                <a16:creationId xmlns:a16="http://schemas.microsoft.com/office/drawing/2014/main" id="{006BF5D0-EB26-15A3-7A8D-8BB3E7B9D464}"/>
              </a:ext>
            </a:extLst>
          </p:cNvPr>
          <p:cNvSpPr>
            <a:spLocks noGrp="1"/>
          </p:cNvSpPr>
          <p:nvPr>
            <p:ph type="body" sz="quarter" idx="18" hasCustomPrompt="1"/>
          </p:nvPr>
        </p:nvSpPr>
        <p:spPr>
          <a:xfrm>
            <a:off x="708207" y="707795"/>
            <a:ext cx="36000" cy="396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buNone/>
              <a:defRPr sz="100"/>
            </a:lvl1pPr>
          </a:lstStyle>
          <a:p>
            <a:pPr lvl="0"/>
            <a:r>
              <a:rPr lang="en-GB"/>
              <a:t> </a:t>
            </a:r>
          </a:p>
        </p:txBody>
      </p:sp>
      <p:sp>
        <p:nvSpPr>
          <p:cNvPr id="3" name="Tijdelijke aanduiding voor titel 1">
            <a:extLst>
              <a:ext uri="{FF2B5EF4-FFF2-40B4-BE49-F238E27FC236}">
                <a16:creationId xmlns:a16="http://schemas.microsoft.com/office/drawing/2014/main" id="{7EA77320-FBE8-05C5-BBB6-342D7D4858C3}"/>
              </a:ext>
            </a:extLst>
          </p:cNvPr>
          <p:cNvSpPr>
            <a:spLocks noGrp="1"/>
          </p:cNvSpPr>
          <p:nvPr>
            <p:ph type="title" hasCustomPrompt="1"/>
          </p:nvPr>
        </p:nvSpPr>
        <p:spPr>
          <a:xfrm>
            <a:off x="865163" y="722313"/>
            <a:ext cx="10606838" cy="342211"/>
          </a:xfrm>
          <a:prstGeom prst="rect">
            <a:avLst/>
          </a:prstGeom>
        </p:spPr>
        <p:txBody>
          <a:bodyPr vert="horz" lIns="0" tIns="0" rIns="0" bIns="0" rtlCol="0" anchor="t">
            <a:noAutofit/>
          </a:bodyPr>
          <a:lstStyle/>
          <a:p>
            <a:r>
              <a:rPr lang="en-GB" noProof="0"/>
              <a:t>Place the title of the slide here</a:t>
            </a:r>
          </a:p>
        </p:txBody>
      </p:sp>
    </p:spTree>
    <p:extLst>
      <p:ext uri="{BB962C8B-B14F-4D97-AF65-F5344CB8AC3E}">
        <p14:creationId xmlns:p14="http://schemas.microsoft.com/office/powerpoint/2010/main" val="77208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ogo only - ZI">
    <p:spTree>
      <p:nvGrpSpPr>
        <p:cNvPr id="1" name=""/>
        <p:cNvGrpSpPr/>
        <p:nvPr/>
      </p:nvGrpSpPr>
      <p:grpSpPr>
        <a:xfrm>
          <a:off x="0" y="0"/>
          <a:ext cx="0" cy="0"/>
          <a:chOff x="0" y="0"/>
          <a:chExt cx="0" cy="0"/>
        </a:xfrm>
      </p:grpSpPr>
      <p:sp>
        <p:nvSpPr>
          <p:cNvPr id="7" name="Rechthoek: afgeronde hoeken 6">
            <a:extLst>
              <a:ext uri="{FF2B5EF4-FFF2-40B4-BE49-F238E27FC236}">
                <a16:creationId xmlns:a16="http://schemas.microsoft.com/office/drawing/2014/main" id="{EE82F239-2B35-4039-9A61-4FB8C953EA19}"/>
              </a:ext>
            </a:extLst>
          </p:cNvPr>
          <p:cNvSpPr/>
          <p:nvPr userDrawn="1"/>
        </p:nvSpPr>
        <p:spPr>
          <a:xfrm>
            <a:off x="0" y="-367937"/>
            <a:ext cx="818750" cy="24622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en-GB" sz="1600" b="1" cap="none" baseline="0" noProof="0">
                <a:solidFill>
                  <a:schemeClr val="accent1"/>
                </a:solidFill>
                <a:latin typeface="+mj-lt"/>
              </a:rPr>
              <a:t>Logo only</a:t>
            </a:r>
          </a:p>
        </p:txBody>
      </p:sp>
      <p:sp>
        <p:nvSpPr>
          <p:cNvPr id="5" name="Tijdelijke aanduiding voor tekst 15">
            <a:extLst>
              <a:ext uri="{FF2B5EF4-FFF2-40B4-BE49-F238E27FC236}">
                <a16:creationId xmlns:a16="http://schemas.microsoft.com/office/drawing/2014/main" id="{1573DD9B-8FD8-C1EC-787F-42558CEE97FA}"/>
              </a:ext>
            </a:extLst>
          </p:cNvPr>
          <p:cNvSpPr>
            <a:spLocks noGrp="1"/>
          </p:cNvSpPr>
          <p:nvPr>
            <p:ph type="body" sz="quarter" idx="14" hasCustomPrompt="1"/>
          </p:nvPr>
        </p:nvSpPr>
        <p:spPr>
          <a:xfrm>
            <a:off x="720000" y="6060536"/>
            <a:ext cx="932400" cy="475200"/>
          </a:xfrm>
          <a:blipFill>
            <a:blip r:embed="rId2"/>
            <a:stretch>
              <a:fillRect/>
            </a:stretch>
          </a:blipFill>
        </p:spPr>
        <p:txBody>
          <a:bodyPr/>
          <a:lstStyle>
            <a:lvl1pPr marL="0" indent="0">
              <a:buNone/>
              <a:defRPr sz="100"/>
            </a:lvl1pPr>
          </a:lstStyle>
          <a:p>
            <a:pPr lvl="0"/>
            <a:r>
              <a:rPr lang="en-GB"/>
              <a:t> </a:t>
            </a:r>
          </a:p>
        </p:txBody>
      </p:sp>
    </p:spTree>
    <p:extLst>
      <p:ext uri="{BB962C8B-B14F-4D97-AF65-F5344CB8AC3E}">
        <p14:creationId xmlns:p14="http://schemas.microsoft.com/office/powerpoint/2010/main" val="2847229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Agenda 6x #2">
    <p:spTree>
      <p:nvGrpSpPr>
        <p:cNvPr id="1" name=""/>
        <p:cNvGrpSpPr/>
        <p:nvPr/>
      </p:nvGrpSpPr>
      <p:grpSpPr>
        <a:xfrm>
          <a:off x="0" y="0"/>
          <a:ext cx="0" cy="0"/>
          <a:chOff x="0" y="0"/>
          <a:chExt cx="0" cy="0"/>
        </a:xfrm>
      </p:grpSpPr>
      <p:sp>
        <p:nvSpPr>
          <p:cNvPr id="14" name="Tijdelijke aanduiding voor afbeelding 13">
            <a:extLst>
              <a:ext uri="{FF2B5EF4-FFF2-40B4-BE49-F238E27FC236}">
                <a16:creationId xmlns:a16="http://schemas.microsoft.com/office/drawing/2014/main" id="{6D83A196-0A48-69BC-54A6-5B14D8C6FED8}"/>
              </a:ext>
            </a:extLst>
          </p:cNvPr>
          <p:cNvSpPr>
            <a:spLocks noGrp="1"/>
          </p:cNvSpPr>
          <p:nvPr>
            <p:ph type="pic" sz="quarter" idx="13" hasCustomPrompt="1"/>
          </p:nvPr>
        </p:nvSpPr>
        <p:spPr>
          <a:xfrm>
            <a:off x="193040" y="208280"/>
            <a:ext cx="11805920" cy="6441440"/>
          </a:xfrm>
          <a:custGeom>
            <a:avLst/>
            <a:gdLst>
              <a:gd name="connsiteX0" fmla="*/ 301459 w 11805920"/>
              <a:gd name="connsiteY0" fmla="*/ 0 h 6441440"/>
              <a:gd name="connsiteX1" fmla="*/ 11504461 w 11805920"/>
              <a:gd name="connsiteY1" fmla="*/ 0 h 6441440"/>
              <a:gd name="connsiteX2" fmla="*/ 11805920 w 11805920"/>
              <a:gd name="connsiteY2" fmla="*/ 301459 h 6441440"/>
              <a:gd name="connsiteX3" fmla="*/ 11805920 w 11805920"/>
              <a:gd name="connsiteY3" fmla="*/ 6139981 h 6441440"/>
              <a:gd name="connsiteX4" fmla="*/ 11504461 w 11805920"/>
              <a:gd name="connsiteY4" fmla="*/ 6441440 h 6441440"/>
              <a:gd name="connsiteX5" fmla="*/ 301459 w 11805920"/>
              <a:gd name="connsiteY5" fmla="*/ 6441440 h 6441440"/>
              <a:gd name="connsiteX6" fmla="*/ 0 w 11805920"/>
              <a:gd name="connsiteY6" fmla="*/ 6139981 h 6441440"/>
              <a:gd name="connsiteX7" fmla="*/ 0 w 11805920"/>
              <a:gd name="connsiteY7" fmla="*/ 301459 h 6441440"/>
              <a:gd name="connsiteX8" fmla="*/ 301459 w 11805920"/>
              <a:gd name="connsiteY8" fmla="*/ 0 h 6441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5920" h="6441440">
                <a:moveTo>
                  <a:pt x="301459" y="0"/>
                </a:moveTo>
                <a:lnTo>
                  <a:pt x="11504461" y="0"/>
                </a:lnTo>
                <a:cubicBezTo>
                  <a:pt x="11670952" y="0"/>
                  <a:pt x="11805920" y="134968"/>
                  <a:pt x="11805920" y="301459"/>
                </a:cubicBezTo>
                <a:lnTo>
                  <a:pt x="11805920" y="6139981"/>
                </a:lnTo>
                <a:cubicBezTo>
                  <a:pt x="11805920" y="6306472"/>
                  <a:pt x="11670952" y="6441440"/>
                  <a:pt x="11504461" y="6441440"/>
                </a:cubicBezTo>
                <a:lnTo>
                  <a:pt x="301459" y="6441440"/>
                </a:lnTo>
                <a:cubicBezTo>
                  <a:pt x="134968" y="6441440"/>
                  <a:pt x="0" y="6306472"/>
                  <a:pt x="0" y="6139981"/>
                </a:cubicBezTo>
                <a:lnTo>
                  <a:pt x="0" y="301459"/>
                </a:lnTo>
                <a:cubicBezTo>
                  <a:pt x="0" y="134968"/>
                  <a:pt x="134968" y="0"/>
                  <a:pt x="301459" y="0"/>
                </a:cubicBezTo>
                <a:close/>
              </a:path>
            </a:pathLst>
          </a:custGeom>
          <a:solidFill>
            <a:schemeClr val="bg1">
              <a:lumMod val="95000"/>
            </a:schemeClr>
          </a:solidFill>
        </p:spPr>
        <p:txBody>
          <a:bodyPr wrap="square" tIns="0" bIns="1080000" anchor="ctr" anchorCtr="0">
            <a:noAutofit/>
          </a:bodyPr>
          <a:lstStyle>
            <a:lvl1pPr marL="0" indent="0" algn="ctr">
              <a:buNone/>
              <a:defRPr sz="1200" i="1">
                <a:solidFill>
                  <a:schemeClr val="bg1">
                    <a:lumMod val="50000"/>
                  </a:schemeClr>
                </a:solidFill>
              </a:defRPr>
            </a:lvl1pPr>
          </a:lstStyle>
          <a:p>
            <a:r>
              <a:rPr lang="en-GB" noProof="0"/>
              <a:t>Select this placeholder, go to the tab ‘Slidebuilder’, click on ‘Images’, select the preferred image and click on ‘Insert’.</a:t>
            </a:r>
          </a:p>
        </p:txBody>
      </p:sp>
      <p:sp>
        <p:nvSpPr>
          <p:cNvPr id="8" name="Rechthoek: afgeronde hoeken 7">
            <a:extLst>
              <a:ext uri="{FF2B5EF4-FFF2-40B4-BE49-F238E27FC236}">
                <a16:creationId xmlns:a16="http://schemas.microsoft.com/office/drawing/2014/main" id="{E6C0F707-B0B6-4437-92EC-6DC7FCF35DD2}"/>
              </a:ext>
            </a:extLst>
          </p:cNvPr>
          <p:cNvSpPr/>
          <p:nvPr userDrawn="1"/>
        </p:nvSpPr>
        <p:spPr>
          <a:xfrm>
            <a:off x="0" y="-367937"/>
            <a:ext cx="1143968" cy="24622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en-GB" sz="1600" b="1" cap="none" baseline="0" noProof="0">
                <a:solidFill>
                  <a:schemeClr val="accent1"/>
                </a:solidFill>
                <a:latin typeface="+mj-lt"/>
              </a:rPr>
              <a:t>Agenda 6x #2</a:t>
            </a:r>
            <a:endParaRPr lang="en-GB" sz="2400" b="1" cap="none" baseline="0" noProof="0">
              <a:solidFill>
                <a:schemeClr val="accent1"/>
              </a:solidFill>
              <a:latin typeface="+mj-lt"/>
            </a:endParaRPr>
          </a:p>
        </p:txBody>
      </p:sp>
      <p:sp>
        <p:nvSpPr>
          <p:cNvPr id="2" name="Tijdelijke aanduiding voor tekst 4">
            <a:extLst>
              <a:ext uri="{FF2B5EF4-FFF2-40B4-BE49-F238E27FC236}">
                <a16:creationId xmlns:a16="http://schemas.microsoft.com/office/drawing/2014/main" id="{26F0A199-191E-322A-46F9-D72F506E4EB0}"/>
              </a:ext>
            </a:extLst>
          </p:cNvPr>
          <p:cNvSpPr>
            <a:spLocks noGrp="1"/>
          </p:cNvSpPr>
          <p:nvPr>
            <p:ph type="body" sz="quarter" idx="42" hasCustomPrompt="1"/>
          </p:nvPr>
        </p:nvSpPr>
        <p:spPr>
          <a:xfrm>
            <a:off x="718946" y="6060647"/>
            <a:ext cx="932400" cy="475089"/>
          </a:xfrm>
          <a:custGeom>
            <a:avLst/>
            <a:gdLst>
              <a:gd name="connsiteX0" fmla="*/ 405202 w 4262138"/>
              <a:gd name="connsiteY0" fmla="*/ 0 h 2171700"/>
              <a:gd name="connsiteX1" fmla="*/ 2718550 w 4262138"/>
              <a:gd name="connsiteY1" fmla="*/ 0 h 2171700"/>
              <a:gd name="connsiteX2" fmla="*/ 3123745 w 4262138"/>
              <a:gd name="connsiteY2" fmla="*/ 405781 h 2171700"/>
              <a:gd name="connsiteX3" fmla="*/ 3123745 w 4262138"/>
              <a:gd name="connsiteY3" fmla="*/ 906766 h 2171700"/>
              <a:gd name="connsiteX4" fmla="*/ 3529526 w 4262138"/>
              <a:gd name="connsiteY4" fmla="*/ 1312540 h 2171700"/>
              <a:gd name="connsiteX5" fmla="*/ 3936465 w 4262138"/>
              <a:gd name="connsiteY5" fmla="*/ 1312540 h 2171700"/>
              <a:gd name="connsiteX6" fmla="*/ 4262138 w 4262138"/>
              <a:gd name="connsiteY6" fmla="*/ 1638213 h 2171700"/>
              <a:gd name="connsiteX7" fmla="*/ 4262138 w 4262138"/>
              <a:gd name="connsiteY7" fmla="*/ 1846034 h 2171700"/>
              <a:gd name="connsiteX8" fmla="*/ 3936465 w 4262138"/>
              <a:gd name="connsiteY8" fmla="*/ 2171700 h 2171700"/>
              <a:gd name="connsiteX9" fmla="*/ 3449997 w 4262138"/>
              <a:gd name="connsiteY9" fmla="*/ 2171700 h 2171700"/>
              <a:gd name="connsiteX10" fmla="*/ 3124330 w 4262138"/>
              <a:gd name="connsiteY10" fmla="*/ 1846034 h 2171700"/>
              <a:gd name="connsiteX11" fmla="*/ 3124330 w 4262138"/>
              <a:gd name="connsiteY11" fmla="*/ 1717742 h 2171700"/>
              <a:gd name="connsiteX12" fmla="*/ 2719129 w 4262138"/>
              <a:gd name="connsiteY12" fmla="*/ 1312540 h 2171700"/>
              <a:gd name="connsiteX13" fmla="*/ 405202 w 4262138"/>
              <a:gd name="connsiteY13" fmla="*/ 1312540 h 2171700"/>
              <a:gd name="connsiteX14" fmla="*/ 0 w 4262138"/>
              <a:gd name="connsiteY14" fmla="*/ 906766 h 2171700"/>
              <a:gd name="connsiteX15" fmla="*/ 0 w 4262138"/>
              <a:gd name="connsiteY15" fmla="*/ 405781 h 2171700"/>
              <a:gd name="connsiteX16" fmla="*/ 405202 w 4262138"/>
              <a:gd name="connsiteY16" fmla="*/ 0 h 217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62138" h="2171700">
                <a:moveTo>
                  <a:pt x="405202" y="0"/>
                </a:moveTo>
                <a:lnTo>
                  <a:pt x="2718550" y="0"/>
                </a:lnTo>
                <a:cubicBezTo>
                  <a:pt x="2942625" y="0"/>
                  <a:pt x="3123745" y="181699"/>
                  <a:pt x="3123745" y="405781"/>
                </a:cubicBezTo>
                <a:lnTo>
                  <a:pt x="3123745" y="906766"/>
                </a:lnTo>
                <a:cubicBezTo>
                  <a:pt x="3123745" y="1130841"/>
                  <a:pt x="3305451" y="1312540"/>
                  <a:pt x="3529526" y="1312540"/>
                </a:cubicBezTo>
                <a:lnTo>
                  <a:pt x="3936465" y="1312540"/>
                </a:lnTo>
                <a:cubicBezTo>
                  <a:pt x="4116428" y="1312540"/>
                  <a:pt x="4262138" y="1458250"/>
                  <a:pt x="4262138" y="1638213"/>
                </a:cubicBezTo>
                <a:lnTo>
                  <a:pt x="4262138" y="1846034"/>
                </a:lnTo>
                <a:cubicBezTo>
                  <a:pt x="4262138" y="2025996"/>
                  <a:pt x="4116428" y="2171700"/>
                  <a:pt x="3936465" y="2171700"/>
                </a:cubicBezTo>
                <a:lnTo>
                  <a:pt x="3449997" y="2171700"/>
                </a:lnTo>
                <a:cubicBezTo>
                  <a:pt x="3270035" y="2171700"/>
                  <a:pt x="3124330" y="2025996"/>
                  <a:pt x="3124330" y="1846034"/>
                </a:cubicBezTo>
                <a:lnTo>
                  <a:pt x="3124330" y="1717742"/>
                </a:lnTo>
                <a:cubicBezTo>
                  <a:pt x="3124330" y="1493660"/>
                  <a:pt x="2942625" y="1312540"/>
                  <a:pt x="2719129" y="1312540"/>
                </a:cubicBezTo>
                <a:lnTo>
                  <a:pt x="405202" y="1312540"/>
                </a:lnTo>
                <a:cubicBezTo>
                  <a:pt x="181121" y="1312540"/>
                  <a:pt x="0" y="1130841"/>
                  <a:pt x="0" y="906766"/>
                </a:cubicBezTo>
                <a:lnTo>
                  <a:pt x="0" y="405781"/>
                </a:lnTo>
                <a:cubicBezTo>
                  <a:pt x="0" y="181699"/>
                  <a:pt x="181700" y="0"/>
                  <a:pt x="405202" y="0"/>
                </a:cubicBezTo>
                <a:close/>
              </a:path>
            </a:pathLst>
          </a:custGeom>
          <a:solidFill>
            <a:schemeClr val="bg2"/>
          </a:solidFill>
        </p:spPr>
        <p:txBody>
          <a:bodyPr wrap="square">
            <a:noAutofit/>
          </a:bodyPr>
          <a:lstStyle>
            <a:lvl1pPr>
              <a:defRPr sz="100">
                <a:solidFill>
                  <a:schemeClr val="tx1">
                    <a:alpha val="0"/>
                  </a:schemeClr>
                </a:solidFill>
              </a:defRPr>
            </a:lvl1pPr>
          </a:lstStyle>
          <a:p>
            <a:pPr lvl="0"/>
            <a:r>
              <a:rPr lang="en-GB"/>
              <a:t> </a:t>
            </a:r>
          </a:p>
        </p:txBody>
      </p:sp>
      <p:sp>
        <p:nvSpPr>
          <p:cNvPr id="81" name="Tijdelijke aanduiding voor tekst 12">
            <a:extLst>
              <a:ext uri="{FF2B5EF4-FFF2-40B4-BE49-F238E27FC236}">
                <a16:creationId xmlns:a16="http://schemas.microsoft.com/office/drawing/2014/main" id="{712CF7BF-F408-9352-F5D4-4AE1AC2CA7B9}"/>
              </a:ext>
            </a:extLst>
          </p:cNvPr>
          <p:cNvSpPr>
            <a:spLocks noGrp="1"/>
          </p:cNvSpPr>
          <p:nvPr>
            <p:ph type="body" sz="quarter" idx="18" hasCustomPrompt="1"/>
          </p:nvPr>
        </p:nvSpPr>
        <p:spPr>
          <a:xfrm>
            <a:off x="708207" y="707795"/>
            <a:ext cx="36000" cy="396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buNone/>
              <a:defRPr sz="100"/>
            </a:lvl1pPr>
          </a:lstStyle>
          <a:p>
            <a:pPr lvl="0"/>
            <a:r>
              <a:rPr lang="en-GB"/>
              <a:t> </a:t>
            </a:r>
          </a:p>
        </p:txBody>
      </p:sp>
      <p:sp>
        <p:nvSpPr>
          <p:cNvPr id="3" name="Tijdelijke aanduiding voor tekst 75">
            <a:extLst>
              <a:ext uri="{FF2B5EF4-FFF2-40B4-BE49-F238E27FC236}">
                <a16:creationId xmlns:a16="http://schemas.microsoft.com/office/drawing/2014/main" id="{FF310CCE-BD9F-EDBB-F635-6F2AD062FEC5}"/>
              </a:ext>
            </a:extLst>
          </p:cNvPr>
          <p:cNvSpPr>
            <a:spLocks noGrp="1"/>
          </p:cNvSpPr>
          <p:nvPr>
            <p:ph type="body" sz="quarter" idx="15" hasCustomPrompt="1"/>
          </p:nvPr>
        </p:nvSpPr>
        <p:spPr>
          <a:xfrm>
            <a:off x="1219493" y="6139317"/>
            <a:ext cx="97548" cy="128024"/>
          </a:xfrm>
          <a:custGeom>
            <a:avLst/>
            <a:gdLst>
              <a:gd name="connsiteX0" fmla="*/ 66761 w 453380"/>
              <a:gd name="connsiteY0" fmla="*/ 0 h 595025"/>
              <a:gd name="connsiteX1" fmla="*/ 389527 w 453380"/>
              <a:gd name="connsiteY1" fmla="*/ 0 h 595025"/>
              <a:gd name="connsiteX2" fmla="*/ 453380 w 453380"/>
              <a:gd name="connsiteY2" fmla="*/ 63854 h 595025"/>
              <a:gd name="connsiteX3" fmla="*/ 389527 w 453380"/>
              <a:gd name="connsiteY3" fmla="*/ 128292 h 595025"/>
              <a:gd name="connsiteX4" fmla="*/ 133515 w 453380"/>
              <a:gd name="connsiteY4" fmla="*/ 128292 h 595025"/>
              <a:gd name="connsiteX5" fmla="*/ 133515 w 453380"/>
              <a:gd name="connsiteY5" fmla="*/ 253104 h 595025"/>
              <a:gd name="connsiteX6" fmla="*/ 293743 w 453380"/>
              <a:gd name="connsiteY6" fmla="*/ 253104 h 595025"/>
              <a:gd name="connsiteX7" fmla="*/ 357597 w 453380"/>
              <a:gd name="connsiteY7" fmla="*/ 317543 h 595025"/>
              <a:gd name="connsiteX8" fmla="*/ 293743 w 453380"/>
              <a:gd name="connsiteY8" fmla="*/ 381396 h 595025"/>
              <a:gd name="connsiteX9" fmla="*/ 133515 w 453380"/>
              <a:gd name="connsiteY9" fmla="*/ 381396 h 595025"/>
              <a:gd name="connsiteX10" fmla="*/ 133515 w 453380"/>
              <a:gd name="connsiteY10" fmla="*/ 382560 h 595025"/>
              <a:gd name="connsiteX11" fmla="*/ 133515 w 453380"/>
              <a:gd name="connsiteY11" fmla="*/ 527686 h 595025"/>
              <a:gd name="connsiteX12" fmla="*/ 66761 w 453380"/>
              <a:gd name="connsiteY12" fmla="*/ 595025 h 595025"/>
              <a:gd name="connsiteX13" fmla="*/ 0 w 453380"/>
              <a:gd name="connsiteY13" fmla="*/ 527686 h 595025"/>
              <a:gd name="connsiteX14" fmla="*/ 0 w 453380"/>
              <a:gd name="connsiteY14" fmla="*/ 67340 h 595025"/>
              <a:gd name="connsiteX15" fmla="*/ 66761 w 453380"/>
              <a:gd name="connsiteY15" fmla="*/ 0 h 59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3380" h="595025">
                <a:moveTo>
                  <a:pt x="66761" y="0"/>
                </a:moveTo>
                <a:lnTo>
                  <a:pt x="389527" y="0"/>
                </a:lnTo>
                <a:cubicBezTo>
                  <a:pt x="432482" y="0"/>
                  <a:pt x="453380" y="22063"/>
                  <a:pt x="453380" y="63854"/>
                </a:cubicBezTo>
                <a:cubicBezTo>
                  <a:pt x="453380" y="105657"/>
                  <a:pt x="432482" y="128292"/>
                  <a:pt x="389527" y="128292"/>
                </a:cubicBezTo>
                <a:lnTo>
                  <a:pt x="133515" y="128292"/>
                </a:lnTo>
                <a:lnTo>
                  <a:pt x="133515" y="253104"/>
                </a:lnTo>
                <a:lnTo>
                  <a:pt x="293743" y="253104"/>
                </a:lnTo>
                <a:cubicBezTo>
                  <a:pt x="336698" y="253104"/>
                  <a:pt x="357597" y="275167"/>
                  <a:pt x="357597" y="317543"/>
                </a:cubicBezTo>
                <a:cubicBezTo>
                  <a:pt x="357597" y="359919"/>
                  <a:pt x="336698" y="381396"/>
                  <a:pt x="293743" y="381396"/>
                </a:cubicBezTo>
                <a:lnTo>
                  <a:pt x="133515" y="381396"/>
                </a:lnTo>
                <a:lnTo>
                  <a:pt x="133515" y="382560"/>
                </a:lnTo>
                <a:lnTo>
                  <a:pt x="133515" y="527686"/>
                </a:lnTo>
                <a:cubicBezTo>
                  <a:pt x="133515" y="572390"/>
                  <a:pt x="110880" y="595025"/>
                  <a:pt x="66761" y="595025"/>
                </a:cubicBezTo>
                <a:cubicBezTo>
                  <a:pt x="22642" y="595025"/>
                  <a:pt x="0" y="572390"/>
                  <a:pt x="0" y="527686"/>
                </a:cubicBezTo>
                <a:lnTo>
                  <a:pt x="0" y="67340"/>
                </a:lnTo>
                <a:cubicBezTo>
                  <a:pt x="0" y="22642"/>
                  <a:pt x="23221" y="0"/>
                  <a:pt x="66761" y="0"/>
                </a:cubicBezTo>
                <a:close/>
              </a:path>
            </a:pathLst>
          </a:custGeom>
          <a:solidFill>
            <a:schemeClr val="tx1"/>
          </a:solidFill>
        </p:spPr>
        <p:txBody>
          <a:bodyPr wrap="square">
            <a:noAutofit/>
          </a:bodyPr>
          <a:lstStyle>
            <a:lvl1pPr>
              <a:defRPr sz="100"/>
            </a:lvl1pPr>
          </a:lstStyle>
          <a:p>
            <a:pPr lvl="0"/>
            <a:r>
              <a:rPr lang="en-GB"/>
              <a:t> </a:t>
            </a:r>
          </a:p>
        </p:txBody>
      </p:sp>
      <p:sp>
        <p:nvSpPr>
          <p:cNvPr id="4" name="Tijdelijke aanduiding voor tekst 78">
            <a:extLst>
              <a:ext uri="{FF2B5EF4-FFF2-40B4-BE49-F238E27FC236}">
                <a16:creationId xmlns:a16="http://schemas.microsoft.com/office/drawing/2014/main" id="{9D77E285-F8FA-3270-4476-91420E0F0E3D}"/>
              </a:ext>
            </a:extLst>
          </p:cNvPr>
          <p:cNvSpPr>
            <a:spLocks noGrp="1"/>
          </p:cNvSpPr>
          <p:nvPr>
            <p:ph type="body" sz="quarter" idx="16" hasCustomPrompt="1"/>
          </p:nvPr>
        </p:nvSpPr>
        <p:spPr>
          <a:xfrm>
            <a:off x="1081823" y="6140440"/>
            <a:ext cx="103294" cy="128150"/>
          </a:xfrm>
          <a:custGeom>
            <a:avLst/>
            <a:gdLst>
              <a:gd name="connsiteX0" fmla="*/ 135259 w 480087"/>
              <a:gd name="connsiteY0" fmla="*/ 129456 h 595610"/>
              <a:gd name="connsiteX1" fmla="*/ 135259 w 480087"/>
              <a:gd name="connsiteY1" fmla="*/ 286192 h 595610"/>
              <a:gd name="connsiteX2" fmla="*/ 249039 w 480087"/>
              <a:gd name="connsiteY2" fmla="*/ 286192 h 595610"/>
              <a:gd name="connsiteX3" fmla="*/ 341343 w 480087"/>
              <a:gd name="connsiteY3" fmla="*/ 208406 h 595610"/>
              <a:gd name="connsiteX4" fmla="*/ 249039 w 480087"/>
              <a:gd name="connsiteY4" fmla="*/ 129456 h 595610"/>
              <a:gd name="connsiteX5" fmla="*/ 67340 w 480087"/>
              <a:gd name="connsiteY5" fmla="*/ 0 h 595610"/>
              <a:gd name="connsiteX6" fmla="*/ 260650 w 480087"/>
              <a:gd name="connsiteY6" fmla="*/ 0 h 595610"/>
              <a:gd name="connsiteX7" fmla="*/ 480087 w 480087"/>
              <a:gd name="connsiteY7" fmla="*/ 207242 h 595610"/>
              <a:gd name="connsiteX8" fmla="*/ 387784 w 480087"/>
              <a:gd name="connsiteY8" fmla="*/ 369786 h 595610"/>
              <a:gd name="connsiteX9" fmla="*/ 449901 w 480087"/>
              <a:gd name="connsiteY9" fmla="*/ 494598 h 595610"/>
              <a:gd name="connsiteX10" fmla="*/ 458610 w 480087"/>
              <a:gd name="connsiteY10" fmla="*/ 530593 h 595610"/>
              <a:gd name="connsiteX11" fmla="*/ 380818 w 480087"/>
              <a:gd name="connsiteY11" fmla="*/ 594446 h 595610"/>
              <a:gd name="connsiteX12" fmla="*/ 325667 w 480087"/>
              <a:gd name="connsiteY12" fmla="*/ 551485 h 595610"/>
              <a:gd name="connsiteX13" fmla="*/ 258913 w 480087"/>
              <a:gd name="connsiteY13" fmla="*/ 408103 h 595610"/>
              <a:gd name="connsiteX14" fmla="*/ 258328 w 480087"/>
              <a:gd name="connsiteY14" fmla="*/ 408682 h 595610"/>
              <a:gd name="connsiteX15" fmla="*/ 135259 w 480087"/>
              <a:gd name="connsiteY15" fmla="*/ 408682 h 595610"/>
              <a:gd name="connsiteX16" fmla="*/ 135259 w 480087"/>
              <a:gd name="connsiteY16" fmla="*/ 528271 h 595610"/>
              <a:gd name="connsiteX17" fmla="*/ 67340 w 480087"/>
              <a:gd name="connsiteY17" fmla="*/ 595610 h 595610"/>
              <a:gd name="connsiteX18" fmla="*/ 0 w 480087"/>
              <a:gd name="connsiteY18" fmla="*/ 528271 h 595610"/>
              <a:gd name="connsiteX19" fmla="*/ 0 w 480087"/>
              <a:gd name="connsiteY19" fmla="*/ 67340 h 595610"/>
              <a:gd name="connsiteX20" fmla="*/ 67340 w 480087"/>
              <a:gd name="connsiteY20" fmla="*/ 0 h 595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0087" h="595610">
                <a:moveTo>
                  <a:pt x="135259" y="129456"/>
                </a:moveTo>
                <a:lnTo>
                  <a:pt x="135259" y="286192"/>
                </a:lnTo>
                <a:lnTo>
                  <a:pt x="249039" y="286192"/>
                </a:lnTo>
                <a:cubicBezTo>
                  <a:pt x="300704" y="286192"/>
                  <a:pt x="341343" y="262971"/>
                  <a:pt x="341343" y="208406"/>
                </a:cubicBezTo>
                <a:cubicBezTo>
                  <a:pt x="341343" y="153835"/>
                  <a:pt x="300704" y="129456"/>
                  <a:pt x="249039" y="129456"/>
                </a:cubicBezTo>
                <a:close/>
                <a:moveTo>
                  <a:pt x="67340" y="0"/>
                </a:moveTo>
                <a:lnTo>
                  <a:pt x="260650" y="0"/>
                </a:lnTo>
                <a:cubicBezTo>
                  <a:pt x="390106" y="0"/>
                  <a:pt x="480087" y="84758"/>
                  <a:pt x="480087" y="207242"/>
                </a:cubicBezTo>
                <a:cubicBezTo>
                  <a:pt x="480087" y="282133"/>
                  <a:pt x="445835" y="339020"/>
                  <a:pt x="387784" y="369786"/>
                </a:cubicBezTo>
                <a:lnTo>
                  <a:pt x="449901" y="494598"/>
                </a:lnTo>
                <a:cubicBezTo>
                  <a:pt x="456282" y="506787"/>
                  <a:pt x="458610" y="518983"/>
                  <a:pt x="458610" y="530593"/>
                </a:cubicBezTo>
                <a:cubicBezTo>
                  <a:pt x="458610" y="569483"/>
                  <a:pt x="413906" y="594446"/>
                  <a:pt x="380818" y="594446"/>
                </a:cubicBezTo>
                <a:cubicBezTo>
                  <a:pt x="355854" y="594446"/>
                  <a:pt x="337857" y="579935"/>
                  <a:pt x="325667" y="551485"/>
                </a:cubicBezTo>
                <a:lnTo>
                  <a:pt x="258913" y="408103"/>
                </a:lnTo>
                <a:lnTo>
                  <a:pt x="258328" y="408682"/>
                </a:lnTo>
                <a:lnTo>
                  <a:pt x="135259" y="408682"/>
                </a:lnTo>
                <a:lnTo>
                  <a:pt x="135259" y="528271"/>
                </a:lnTo>
                <a:cubicBezTo>
                  <a:pt x="135259" y="572969"/>
                  <a:pt x="112038" y="595610"/>
                  <a:pt x="67340" y="595610"/>
                </a:cubicBezTo>
                <a:cubicBezTo>
                  <a:pt x="22642" y="595610"/>
                  <a:pt x="0" y="572969"/>
                  <a:pt x="0" y="528271"/>
                </a:cubicBezTo>
                <a:lnTo>
                  <a:pt x="0" y="67340"/>
                </a:lnTo>
                <a:cubicBezTo>
                  <a:pt x="0" y="22642"/>
                  <a:pt x="23221" y="0"/>
                  <a:pt x="67340" y="0"/>
                </a:cubicBezTo>
                <a:close/>
              </a:path>
            </a:pathLst>
          </a:custGeom>
          <a:solidFill>
            <a:schemeClr val="tx1"/>
          </a:solidFill>
        </p:spPr>
        <p:txBody>
          <a:bodyPr wrap="square">
            <a:noAutofit/>
          </a:bodyPr>
          <a:lstStyle>
            <a:lvl1pPr>
              <a:defRPr sz="100"/>
            </a:lvl1pPr>
          </a:lstStyle>
          <a:p>
            <a:pPr lvl="0"/>
            <a:r>
              <a:rPr lang="en-GB"/>
              <a:t> </a:t>
            </a:r>
          </a:p>
        </p:txBody>
      </p:sp>
      <p:sp>
        <p:nvSpPr>
          <p:cNvPr id="5" name="Tijdelijke aanduiding voor tekst 79">
            <a:extLst>
              <a:ext uri="{FF2B5EF4-FFF2-40B4-BE49-F238E27FC236}">
                <a16:creationId xmlns:a16="http://schemas.microsoft.com/office/drawing/2014/main" id="{AE9940B7-FA98-C94D-A68F-D2601D94B393}"/>
              </a:ext>
            </a:extLst>
          </p:cNvPr>
          <p:cNvSpPr>
            <a:spLocks noGrp="1"/>
          </p:cNvSpPr>
          <p:nvPr>
            <p:ph type="body" sz="quarter" idx="17" hasCustomPrompt="1"/>
          </p:nvPr>
        </p:nvSpPr>
        <p:spPr>
          <a:xfrm>
            <a:off x="932413" y="6141323"/>
            <a:ext cx="115034" cy="129648"/>
          </a:xfrm>
          <a:custGeom>
            <a:avLst/>
            <a:gdLst>
              <a:gd name="connsiteX0" fmla="*/ 67340 w 534652"/>
              <a:gd name="connsiteY0" fmla="*/ 0 h 602576"/>
              <a:gd name="connsiteX1" fmla="*/ 135259 w 534652"/>
              <a:gd name="connsiteY1" fmla="*/ 66761 h 602576"/>
              <a:gd name="connsiteX2" fmla="*/ 135259 w 534652"/>
              <a:gd name="connsiteY2" fmla="*/ 323924 h 602576"/>
              <a:gd name="connsiteX3" fmla="*/ 267037 w 534652"/>
              <a:gd name="connsiteY3" fmla="*/ 469634 h 602576"/>
              <a:gd name="connsiteX4" fmla="*/ 399973 w 534652"/>
              <a:gd name="connsiteY4" fmla="*/ 323924 h 602576"/>
              <a:gd name="connsiteX5" fmla="*/ 399973 w 534652"/>
              <a:gd name="connsiteY5" fmla="*/ 66761 h 602576"/>
              <a:gd name="connsiteX6" fmla="*/ 399394 w 534652"/>
              <a:gd name="connsiteY6" fmla="*/ 66761 h 602576"/>
              <a:gd name="connsiteX7" fmla="*/ 466734 w 534652"/>
              <a:gd name="connsiteY7" fmla="*/ 0 h 602576"/>
              <a:gd name="connsiteX8" fmla="*/ 534652 w 534652"/>
              <a:gd name="connsiteY8" fmla="*/ 66761 h 602576"/>
              <a:gd name="connsiteX9" fmla="*/ 534652 w 534652"/>
              <a:gd name="connsiteY9" fmla="*/ 323924 h 602576"/>
              <a:gd name="connsiteX10" fmla="*/ 267037 w 534652"/>
              <a:gd name="connsiteY10" fmla="*/ 602576 h 602576"/>
              <a:gd name="connsiteX11" fmla="*/ 0 w 534652"/>
              <a:gd name="connsiteY11" fmla="*/ 323924 h 602576"/>
              <a:gd name="connsiteX12" fmla="*/ 0 w 534652"/>
              <a:gd name="connsiteY12" fmla="*/ 66761 h 602576"/>
              <a:gd name="connsiteX13" fmla="*/ 67340 w 534652"/>
              <a:gd name="connsiteY13" fmla="*/ 0 h 60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4652" h="602576">
                <a:moveTo>
                  <a:pt x="67340" y="0"/>
                </a:moveTo>
                <a:cubicBezTo>
                  <a:pt x="111459" y="0"/>
                  <a:pt x="135259" y="22642"/>
                  <a:pt x="135259" y="66761"/>
                </a:cubicBezTo>
                <a:lnTo>
                  <a:pt x="135259" y="323924"/>
                </a:lnTo>
                <a:cubicBezTo>
                  <a:pt x="135259" y="415069"/>
                  <a:pt x="190988" y="469634"/>
                  <a:pt x="267037" y="469634"/>
                </a:cubicBezTo>
                <a:cubicBezTo>
                  <a:pt x="343086" y="469634"/>
                  <a:pt x="399973" y="415069"/>
                  <a:pt x="399973" y="323924"/>
                </a:cubicBezTo>
                <a:lnTo>
                  <a:pt x="399973" y="66761"/>
                </a:lnTo>
                <a:lnTo>
                  <a:pt x="399394" y="66761"/>
                </a:lnTo>
                <a:cubicBezTo>
                  <a:pt x="399394" y="22063"/>
                  <a:pt x="422615" y="0"/>
                  <a:pt x="466734" y="0"/>
                </a:cubicBezTo>
                <a:cubicBezTo>
                  <a:pt x="510853" y="0"/>
                  <a:pt x="534652" y="22642"/>
                  <a:pt x="534652" y="66761"/>
                </a:cubicBezTo>
                <a:lnTo>
                  <a:pt x="534652" y="323924"/>
                </a:lnTo>
                <a:cubicBezTo>
                  <a:pt x="534652" y="493434"/>
                  <a:pt x="421457" y="602576"/>
                  <a:pt x="267037" y="602576"/>
                </a:cubicBezTo>
                <a:cubicBezTo>
                  <a:pt x="112623" y="602576"/>
                  <a:pt x="0" y="493434"/>
                  <a:pt x="0" y="323924"/>
                </a:cubicBezTo>
                <a:lnTo>
                  <a:pt x="0" y="66761"/>
                </a:lnTo>
                <a:cubicBezTo>
                  <a:pt x="0" y="22063"/>
                  <a:pt x="23221" y="0"/>
                  <a:pt x="67340" y="0"/>
                </a:cubicBezTo>
                <a:close/>
              </a:path>
            </a:pathLst>
          </a:custGeom>
          <a:solidFill>
            <a:schemeClr val="tx1"/>
          </a:solidFill>
        </p:spPr>
        <p:txBody>
          <a:bodyPr wrap="square">
            <a:noAutofit/>
          </a:bodyPr>
          <a:lstStyle>
            <a:lvl1pPr>
              <a:defRPr sz="100"/>
            </a:lvl1pPr>
          </a:lstStyle>
          <a:p>
            <a:pPr lvl="0"/>
            <a:r>
              <a:rPr lang="en-GB"/>
              <a:t> </a:t>
            </a:r>
          </a:p>
        </p:txBody>
      </p:sp>
      <p:sp>
        <p:nvSpPr>
          <p:cNvPr id="6" name="Tijdelijke aanduiding voor tekst 82">
            <a:extLst>
              <a:ext uri="{FF2B5EF4-FFF2-40B4-BE49-F238E27FC236}">
                <a16:creationId xmlns:a16="http://schemas.microsoft.com/office/drawing/2014/main" id="{03624E18-6597-4F8B-8BE1-A0C5AECE1582}"/>
              </a:ext>
            </a:extLst>
          </p:cNvPr>
          <p:cNvSpPr>
            <a:spLocks noGrp="1"/>
          </p:cNvSpPr>
          <p:nvPr>
            <p:ph type="body" sz="quarter" idx="48" hasCustomPrompt="1"/>
          </p:nvPr>
        </p:nvSpPr>
        <p:spPr>
          <a:xfrm>
            <a:off x="800531" y="6138068"/>
            <a:ext cx="101545" cy="130522"/>
          </a:xfrm>
          <a:custGeom>
            <a:avLst/>
            <a:gdLst>
              <a:gd name="connsiteX0" fmla="*/ 237429 w 471957"/>
              <a:gd name="connsiteY0" fmla="*/ 0 h 606635"/>
              <a:gd name="connsiteX1" fmla="*/ 453381 w 471957"/>
              <a:gd name="connsiteY1" fmla="*/ 97527 h 606635"/>
              <a:gd name="connsiteX2" fmla="*/ 397651 w 471957"/>
              <a:gd name="connsiteY2" fmla="*/ 160801 h 606635"/>
              <a:gd name="connsiteX3" fmla="*/ 343665 w 471957"/>
              <a:gd name="connsiteY3" fmla="*/ 148612 h 606635"/>
              <a:gd name="connsiteX4" fmla="*/ 236850 w 471957"/>
              <a:gd name="connsiteY4" fmla="*/ 126555 h 606635"/>
              <a:gd name="connsiteX5" fmla="*/ 152677 w 471957"/>
              <a:gd name="connsiteY5" fmla="*/ 171253 h 606635"/>
              <a:gd name="connsiteX6" fmla="*/ 220017 w 471957"/>
              <a:gd name="connsiteY6" fmla="*/ 224075 h 606635"/>
              <a:gd name="connsiteX7" fmla="*/ 329733 w 471957"/>
              <a:gd name="connsiteY7" fmla="*/ 257748 h 606635"/>
              <a:gd name="connsiteX8" fmla="*/ 471957 w 471957"/>
              <a:gd name="connsiteY8" fmla="*/ 427258 h 606635"/>
              <a:gd name="connsiteX9" fmla="*/ 238593 w 471957"/>
              <a:gd name="connsiteY9" fmla="*/ 606635 h 606635"/>
              <a:gd name="connsiteX10" fmla="*/ 0 w 471957"/>
              <a:gd name="connsiteY10" fmla="*/ 509109 h 606635"/>
              <a:gd name="connsiteX11" fmla="*/ 61532 w 471957"/>
              <a:gd name="connsiteY11" fmla="*/ 445835 h 606635"/>
              <a:gd name="connsiteX12" fmla="*/ 121911 w 471957"/>
              <a:gd name="connsiteY12" fmla="*/ 458024 h 606635"/>
              <a:gd name="connsiteX13" fmla="*/ 239172 w 471957"/>
              <a:gd name="connsiteY13" fmla="*/ 480086 h 606635"/>
              <a:gd name="connsiteX14" fmla="*/ 334377 w 471957"/>
              <a:gd name="connsiteY14" fmla="*/ 423193 h 606635"/>
              <a:gd name="connsiteX15" fmla="*/ 333798 w 471957"/>
              <a:gd name="connsiteY15" fmla="*/ 423193 h 606635"/>
              <a:gd name="connsiteX16" fmla="*/ 246718 w 471957"/>
              <a:gd name="connsiteY16" fmla="*/ 365142 h 606635"/>
              <a:gd name="connsiteX17" fmla="*/ 148612 w 471957"/>
              <a:gd name="connsiteY17" fmla="*/ 335534 h 606635"/>
              <a:gd name="connsiteX18" fmla="*/ 15091 w 471957"/>
              <a:gd name="connsiteY18" fmla="*/ 177055 h 606635"/>
              <a:gd name="connsiteX19" fmla="*/ 237429 w 471957"/>
              <a:gd name="connsiteY19" fmla="*/ 0 h 606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1957" h="606635">
                <a:moveTo>
                  <a:pt x="237429" y="0"/>
                </a:moveTo>
                <a:cubicBezTo>
                  <a:pt x="336699" y="0"/>
                  <a:pt x="453381" y="34252"/>
                  <a:pt x="453381" y="97527"/>
                </a:cubicBezTo>
                <a:cubicBezTo>
                  <a:pt x="453381" y="136422"/>
                  <a:pt x="433646" y="160801"/>
                  <a:pt x="397651" y="160801"/>
                </a:cubicBezTo>
                <a:cubicBezTo>
                  <a:pt x="379075" y="160801"/>
                  <a:pt x="362820" y="154414"/>
                  <a:pt x="343665" y="148612"/>
                </a:cubicBezTo>
                <a:cubicBezTo>
                  <a:pt x="316379" y="138165"/>
                  <a:pt x="282712" y="126555"/>
                  <a:pt x="236850" y="126555"/>
                </a:cubicBezTo>
                <a:cubicBezTo>
                  <a:pt x="199118" y="126555"/>
                  <a:pt x="152677" y="141067"/>
                  <a:pt x="152677" y="171253"/>
                </a:cubicBezTo>
                <a:cubicBezTo>
                  <a:pt x="152677" y="197954"/>
                  <a:pt x="173576" y="210149"/>
                  <a:pt x="220017" y="224075"/>
                </a:cubicBezTo>
                <a:lnTo>
                  <a:pt x="329733" y="257748"/>
                </a:lnTo>
                <a:cubicBezTo>
                  <a:pt x="404039" y="280390"/>
                  <a:pt x="471957" y="325088"/>
                  <a:pt x="471957" y="427258"/>
                </a:cubicBezTo>
                <a:cubicBezTo>
                  <a:pt x="471957" y="536395"/>
                  <a:pt x="369787" y="606635"/>
                  <a:pt x="238593" y="606635"/>
                </a:cubicBezTo>
                <a:cubicBezTo>
                  <a:pt x="128871" y="606635"/>
                  <a:pt x="0" y="572389"/>
                  <a:pt x="0" y="509109"/>
                </a:cubicBezTo>
                <a:cubicBezTo>
                  <a:pt x="0" y="470219"/>
                  <a:pt x="22642" y="445835"/>
                  <a:pt x="61532" y="445835"/>
                </a:cubicBezTo>
                <a:cubicBezTo>
                  <a:pt x="81851" y="445835"/>
                  <a:pt x="100428" y="451058"/>
                  <a:pt x="121911" y="458024"/>
                </a:cubicBezTo>
                <a:cubicBezTo>
                  <a:pt x="151513" y="467897"/>
                  <a:pt x="186344" y="480086"/>
                  <a:pt x="239172" y="480086"/>
                </a:cubicBezTo>
                <a:cubicBezTo>
                  <a:pt x="283870" y="480086"/>
                  <a:pt x="334377" y="459767"/>
                  <a:pt x="334377" y="423193"/>
                </a:cubicBezTo>
                <a:lnTo>
                  <a:pt x="333798" y="423193"/>
                </a:lnTo>
                <a:cubicBezTo>
                  <a:pt x="333798" y="393006"/>
                  <a:pt x="295481" y="380238"/>
                  <a:pt x="246718" y="365142"/>
                </a:cubicBezTo>
                <a:lnTo>
                  <a:pt x="148612" y="335534"/>
                </a:lnTo>
                <a:cubicBezTo>
                  <a:pt x="77786" y="314642"/>
                  <a:pt x="15091" y="264714"/>
                  <a:pt x="15091" y="177055"/>
                </a:cubicBezTo>
                <a:cubicBezTo>
                  <a:pt x="15091" y="71984"/>
                  <a:pt x="109716" y="0"/>
                  <a:pt x="237429" y="0"/>
                </a:cubicBezTo>
                <a:close/>
              </a:path>
            </a:pathLst>
          </a:custGeom>
          <a:solidFill>
            <a:schemeClr val="tx1"/>
          </a:solidFill>
        </p:spPr>
        <p:txBody>
          <a:bodyPr wrap="square">
            <a:noAutofit/>
          </a:bodyPr>
          <a:lstStyle>
            <a:lvl1pPr>
              <a:defRPr sz="100"/>
            </a:lvl1pPr>
          </a:lstStyle>
          <a:p>
            <a:pPr lvl="0"/>
            <a:r>
              <a:rPr lang="en-GB"/>
              <a:t> </a:t>
            </a:r>
          </a:p>
        </p:txBody>
      </p:sp>
      <p:sp>
        <p:nvSpPr>
          <p:cNvPr id="82" name="Tijdelijke aanduiding voor titel 1">
            <a:extLst>
              <a:ext uri="{FF2B5EF4-FFF2-40B4-BE49-F238E27FC236}">
                <a16:creationId xmlns:a16="http://schemas.microsoft.com/office/drawing/2014/main" id="{EA4CC151-4A54-758F-AAA8-86BD1EB1643C}"/>
              </a:ext>
            </a:extLst>
          </p:cNvPr>
          <p:cNvSpPr>
            <a:spLocks noGrp="1"/>
          </p:cNvSpPr>
          <p:nvPr>
            <p:ph type="title" hasCustomPrompt="1"/>
          </p:nvPr>
        </p:nvSpPr>
        <p:spPr>
          <a:xfrm>
            <a:off x="865163" y="722313"/>
            <a:ext cx="10606838" cy="342211"/>
          </a:xfrm>
          <a:prstGeom prst="rect">
            <a:avLst/>
          </a:prstGeom>
        </p:spPr>
        <p:txBody>
          <a:bodyPr vert="horz" lIns="0" tIns="0" rIns="0" bIns="0" rtlCol="0" anchor="t">
            <a:noAutofit/>
          </a:bodyPr>
          <a:lstStyle/>
          <a:p>
            <a:r>
              <a:rPr lang="en-GB" noProof="0"/>
              <a:t>Place the title of the slide here</a:t>
            </a:r>
          </a:p>
        </p:txBody>
      </p:sp>
    </p:spTree>
    <p:extLst>
      <p:ext uri="{BB962C8B-B14F-4D97-AF65-F5344CB8AC3E}">
        <p14:creationId xmlns:p14="http://schemas.microsoft.com/office/powerpoint/2010/main" val="2204290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2">
                                            <p:bg/>
                                          </p:spTgt>
                                        </p:tgtEl>
                                        <p:attrNameLst>
                                          <p:attrName>style.visibility</p:attrName>
                                        </p:attrNameLst>
                                      </p:cBhvr>
                                      <p:to>
                                        <p:strVal val="visible"/>
                                      </p:to>
                                    </p:set>
                                    <p:anim calcmode="lin" valueType="num">
                                      <p:cBhvr>
                                        <p:cTn id="7" dur="750" fill="hold"/>
                                        <p:tgtEl>
                                          <p:spTgt spid="2">
                                            <p:bg/>
                                          </p:spTgt>
                                        </p:tgtEl>
                                        <p:attrNameLst>
                                          <p:attrName>ppt_w</p:attrName>
                                        </p:attrNameLst>
                                      </p:cBhvr>
                                      <p:tavLst>
                                        <p:tav tm="0">
                                          <p:val>
                                            <p:fltVal val="0"/>
                                          </p:val>
                                        </p:tav>
                                        <p:tav tm="100000">
                                          <p:val>
                                            <p:strVal val="#ppt_w"/>
                                          </p:val>
                                        </p:tav>
                                      </p:tavLst>
                                    </p:anim>
                                    <p:anim calcmode="lin" valueType="num">
                                      <p:cBhvr>
                                        <p:cTn id="8" dur="750" fill="hold"/>
                                        <p:tgtEl>
                                          <p:spTgt spid="2">
                                            <p:bg/>
                                          </p:spTgt>
                                        </p:tgtEl>
                                        <p:attrNameLst>
                                          <p:attrName>ppt_h</p:attrName>
                                        </p:attrNameLst>
                                      </p:cBhvr>
                                      <p:tavLst>
                                        <p:tav tm="0">
                                          <p:val>
                                            <p:fltVal val="0"/>
                                          </p:val>
                                        </p:tav>
                                        <p:tav tm="100000">
                                          <p:val>
                                            <p:strVal val="#ppt_h"/>
                                          </p:val>
                                        </p:tav>
                                      </p:tavLst>
                                    </p:anim>
                                    <p:animEffect transition="in" filter="fade">
                                      <p:cBhvr>
                                        <p:cTn id="9" dur="750"/>
                                        <p:tgtEl>
                                          <p:spTgt spid="2">
                                            <p:bg/>
                                          </p:spTgt>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
                                            <p:txEl>
                                              <p:pRg st="0" end="0"/>
                                            </p:txEl>
                                          </p:spTgt>
                                        </p:tgtEl>
                                        <p:attrNameLst>
                                          <p:attrName>style.visibility</p:attrName>
                                        </p:attrNameLst>
                                      </p:cBhvr>
                                      <p:to>
                                        <p:strVal val="visible"/>
                                      </p:to>
                                    </p:set>
                                    <p:anim calcmode="lin" valueType="num">
                                      <p:cBhvr>
                                        <p:cTn id="12" dur="750" fill="hold"/>
                                        <p:tgtEl>
                                          <p:spTgt spid="2">
                                            <p:txEl>
                                              <p:pRg st="0" end="0"/>
                                            </p:txEl>
                                          </p:spTgt>
                                        </p:tgtEl>
                                        <p:attrNameLst>
                                          <p:attrName>ppt_w</p:attrName>
                                        </p:attrNameLst>
                                      </p:cBhvr>
                                      <p:tavLst>
                                        <p:tav tm="0">
                                          <p:val>
                                            <p:fltVal val="0"/>
                                          </p:val>
                                        </p:tav>
                                        <p:tav tm="100000">
                                          <p:val>
                                            <p:strVal val="#ppt_w"/>
                                          </p:val>
                                        </p:tav>
                                      </p:tavLst>
                                    </p:anim>
                                    <p:anim calcmode="lin" valueType="num">
                                      <p:cBhvr>
                                        <p:cTn id="13" dur="750" fill="hold"/>
                                        <p:tgtEl>
                                          <p:spTgt spid="2">
                                            <p:txEl>
                                              <p:pRg st="0" end="0"/>
                                            </p:txEl>
                                          </p:spTgt>
                                        </p:tgtEl>
                                        <p:attrNameLst>
                                          <p:attrName>ppt_h</p:attrName>
                                        </p:attrNameLst>
                                      </p:cBhvr>
                                      <p:tavLst>
                                        <p:tav tm="0">
                                          <p:val>
                                            <p:fltVal val="0"/>
                                          </p:val>
                                        </p:tav>
                                        <p:tav tm="100000">
                                          <p:val>
                                            <p:strVal val="#ppt_h"/>
                                          </p:val>
                                        </p:tav>
                                      </p:tavLst>
                                    </p:anim>
                                    <p:animEffect transition="in" filter="fade">
                                      <p:cBhvr>
                                        <p:cTn id="14" dur="750"/>
                                        <p:tgtEl>
                                          <p:spTgt spid="2">
                                            <p:txEl>
                                              <p:pRg st="0" end="0"/>
                                            </p:txEl>
                                          </p:spTgt>
                                        </p:tgtEl>
                                      </p:cBhvr>
                                    </p:animEffect>
                                  </p:childTnLst>
                                </p:cTn>
                              </p:par>
                            </p:childTnLst>
                          </p:cTn>
                        </p:par>
                        <p:par>
                          <p:cTn id="15" fill="hold">
                            <p:stCondLst>
                              <p:cond delay="750"/>
                            </p:stCondLst>
                            <p:childTnLst>
                              <p:par>
                                <p:cTn id="16" presetID="12" presetClass="entr" presetSubtype="4" fill="hold" grpId="0" nodeType="afterEffect">
                                  <p:stCondLst>
                                    <p:cond delay="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750"/>
                                        <p:tgtEl>
                                          <p:spTgt spid="6"/>
                                        </p:tgtEl>
                                        <p:attrNameLst>
                                          <p:attrName>ppt_y</p:attrName>
                                        </p:attrNameLst>
                                      </p:cBhvr>
                                      <p:tavLst>
                                        <p:tav tm="0">
                                          <p:val>
                                            <p:strVal val="#ppt_y+#ppt_h*1.125000"/>
                                          </p:val>
                                        </p:tav>
                                        <p:tav tm="100000">
                                          <p:val>
                                            <p:strVal val="#ppt_y"/>
                                          </p:val>
                                        </p:tav>
                                      </p:tavLst>
                                    </p:anim>
                                    <p:animEffect transition="in" filter="wipe(up)">
                                      <p:cBhvr>
                                        <p:cTn id="19" dur="750"/>
                                        <p:tgtEl>
                                          <p:spTgt spid="6"/>
                                        </p:tgtEl>
                                      </p:cBhvr>
                                    </p:animEffect>
                                  </p:childTnLst>
                                </p:cTn>
                              </p:par>
                              <p:par>
                                <p:cTn id="20" presetID="12" presetClass="entr" presetSubtype="4"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 calcmode="lin" valueType="num">
                                      <p:cBhvr additive="base">
                                        <p:cTn id="22" dur="750"/>
                                        <p:tgtEl>
                                          <p:spTgt spid="5"/>
                                        </p:tgtEl>
                                        <p:attrNameLst>
                                          <p:attrName>ppt_y</p:attrName>
                                        </p:attrNameLst>
                                      </p:cBhvr>
                                      <p:tavLst>
                                        <p:tav tm="0">
                                          <p:val>
                                            <p:strVal val="#ppt_y+#ppt_h*1.125000"/>
                                          </p:val>
                                        </p:tav>
                                        <p:tav tm="100000">
                                          <p:val>
                                            <p:strVal val="#ppt_y"/>
                                          </p:val>
                                        </p:tav>
                                      </p:tavLst>
                                    </p:anim>
                                    <p:animEffect transition="in" filter="wipe(up)">
                                      <p:cBhvr>
                                        <p:cTn id="23" dur="750"/>
                                        <p:tgtEl>
                                          <p:spTgt spid="5"/>
                                        </p:tgtEl>
                                      </p:cBhvr>
                                    </p:animEffect>
                                  </p:childTnLst>
                                </p:cTn>
                              </p:par>
                              <p:par>
                                <p:cTn id="24" presetID="12" presetClass="entr" presetSubtype="4" fill="hold" grpId="0" nodeType="withEffect">
                                  <p:stCondLst>
                                    <p:cond delay="500"/>
                                  </p:stCondLst>
                                  <p:childTnLst>
                                    <p:set>
                                      <p:cBhvr>
                                        <p:cTn id="25" dur="1" fill="hold">
                                          <p:stCondLst>
                                            <p:cond delay="0"/>
                                          </p:stCondLst>
                                        </p:cTn>
                                        <p:tgtEl>
                                          <p:spTgt spid="4"/>
                                        </p:tgtEl>
                                        <p:attrNameLst>
                                          <p:attrName>style.visibility</p:attrName>
                                        </p:attrNameLst>
                                      </p:cBhvr>
                                      <p:to>
                                        <p:strVal val="visible"/>
                                      </p:to>
                                    </p:set>
                                    <p:anim calcmode="lin" valueType="num">
                                      <p:cBhvr additive="base">
                                        <p:cTn id="26" dur="750"/>
                                        <p:tgtEl>
                                          <p:spTgt spid="4"/>
                                        </p:tgtEl>
                                        <p:attrNameLst>
                                          <p:attrName>ppt_y</p:attrName>
                                        </p:attrNameLst>
                                      </p:cBhvr>
                                      <p:tavLst>
                                        <p:tav tm="0">
                                          <p:val>
                                            <p:strVal val="#ppt_y+#ppt_h*1.125000"/>
                                          </p:val>
                                        </p:tav>
                                        <p:tav tm="100000">
                                          <p:val>
                                            <p:strVal val="#ppt_y"/>
                                          </p:val>
                                        </p:tav>
                                      </p:tavLst>
                                    </p:anim>
                                    <p:animEffect transition="in" filter="wipe(up)">
                                      <p:cBhvr>
                                        <p:cTn id="27" dur="750"/>
                                        <p:tgtEl>
                                          <p:spTgt spid="4"/>
                                        </p:tgtEl>
                                      </p:cBhvr>
                                    </p:animEffect>
                                  </p:childTnLst>
                                </p:cTn>
                              </p:par>
                              <p:par>
                                <p:cTn id="28" presetID="12" presetClass="entr" presetSubtype="4" fill="hold" grpId="0" nodeType="withEffect">
                                  <p:stCondLst>
                                    <p:cond delay="750"/>
                                  </p:stCondLst>
                                  <p:childTnLst>
                                    <p:set>
                                      <p:cBhvr>
                                        <p:cTn id="29" dur="1" fill="hold">
                                          <p:stCondLst>
                                            <p:cond delay="0"/>
                                          </p:stCondLst>
                                        </p:cTn>
                                        <p:tgtEl>
                                          <p:spTgt spid="3"/>
                                        </p:tgtEl>
                                        <p:attrNameLst>
                                          <p:attrName>style.visibility</p:attrName>
                                        </p:attrNameLst>
                                      </p:cBhvr>
                                      <p:to>
                                        <p:strVal val="visible"/>
                                      </p:to>
                                    </p:set>
                                    <p:anim calcmode="lin" valueType="num">
                                      <p:cBhvr additive="base">
                                        <p:cTn id="30" dur="750"/>
                                        <p:tgtEl>
                                          <p:spTgt spid="3"/>
                                        </p:tgtEl>
                                        <p:attrNameLst>
                                          <p:attrName>ppt_y</p:attrName>
                                        </p:attrNameLst>
                                      </p:cBhvr>
                                      <p:tavLst>
                                        <p:tav tm="0">
                                          <p:val>
                                            <p:strVal val="#ppt_y+#ppt_h*1.125000"/>
                                          </p:val>
                                        </p:tav>
                                        <p:tav tm="100000">
                                          <p:val>
                                            <p:strVal val="#ppt_y"/>
                                          </p:val>
                                        </p:tav>
                                      </p:tavLst>
                                    </p:anim>
                                    <p:animEffect transition="in" filter="wipe(up)">
                                      <p:cBhvr>
                                        <p:cTn id="31"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animBg="1">
        <p:tmplLst>
          <p:tmpl>
            <p:tnLst>
              <p:par>
                <p:cTn presetID="53" presetClass="entr" presetSubtype="16" fill="hold" nodeType="withEffect">
                  <p:stCondLst>
                    <p:cond delay="0"/>
                  </p:stCondLst>
                  <p:childTnLst>
                    <p:set>
                      <p:cBhvr>
                        <p:cTn dur="1" fill="hold">
                          <p:stCondLst>
                            <p:cond delay="0"/>
                          </p:stCondLst>
                        </p:cTn>
                        <p:tgtEl>
                          <p:spTgt spid="2"/>
                        </p:tgtEl>
                        <p:attrNameLst>
                          <p:attrName>style.visibility</p:attrName>
                        </p:attrNameLst>
                      </p:cBhvr>
                      <p:to>
                        <p:strVal val="visible"/>
                      </p:to>
                    </p:set>
                    <p:anim calcmode="lin" valueType="num">
                      <p:cBhvr>
                        <p:cTn dur="750" fill="hold"/>
                        <p:tgtEl>
                          <p:spTgt spid="2"/>
                        </p:tgtEl>
                        <p:attrNameLst>
                          <p:attrName>ppt_w</p:attrName>
                        </p:attrNameLst>
                      </p:cBhvr>
                      <p:tavLst>
                        <p:tav tm="0">
                          <p:val>
                            <p:fltVal val="0"/>
                          </p:val>
                        </p:tav>
                        <p:tav tm="100000">
                          <p:val>
                            <p:strVal val="#ppt_w"/>
                          </p:val>
                        </p:tav>
                      </p:tavLst>
                    </p:anim>
                    <p:anim calcmode="lin" valueType="num">
                      <p:cBhvr>
                        <p:cTn dur="750" fill="hold"/>
                        <p:tgtEl>
                          <p:spTgt spid="2"/>
                        </p:tgtEl>
                        <p:attrNameLst>
                          <p:attrName>ppt_h</p:attrName>
                        </p:attrNameLst>
                      </p:cBhvr>
                      <p:tavLst>
                        <p:tav tm="0">
                          <p:val>
                            <p:fltVal val="0"/>
                          </p:val>
                        </p:tav>
                        <p:tav tm="100000">
                          <p:val>
                            <p:strVal val="#ppt_h"/>
                          </p:val>
                        </p:tav>
                      </p:tavLst>
                    </p:anim>
                    <p:animEffect transition="in" filter="fade">
                      <p:cBhvr>
                        <p:cTn dur="750"/>
                        <p:tgtEl>
                          <p:spTgt spid="2"/>
                        </p:tgtEl>
                      </p:cBhvr>
                    </p:animEffect>
                  </p:childTnLst>
                </p:cTn>
              </p:par>
            </p:tnLst>
          </p:tmpl>
          <p:tmpl lvl="1">
            <p:tnLst>
              <p:par>
                <p:cTn presetID="53" presetClass="entr" presetSubtype="16" fill="hold" nodeType="withEffect">
                  <p:stCondLst>
                    <p:cond delay="0"/>
                  </p:stCondLst>
                  <p:childTnLst>
                    <p:set>
                      <p:cBhvr>
                        <p:cTn dur="1" fill="hold">
                          <p:stCondLst>
                            <p:cond delay="0"/>
                          </p:stCondLst>
                        </p:cTn>
                        <p:tgtEl>
                          <p:spTgt spid="2"/>
                        </p:tgtEl>
                        <p:attrNameLst>
                          <p:attrName>style.visibility</p:attrName>
                        </p:attrNameLst>
                      </p:cBhvr>
                      <p:to>
                        <p:strVal val="visible"/>
                      </p:to>
                    </p:set>
                    <p:anim calcmode="lin" valueType="num">
                      <p:cBhvr>
                        <p:cTn dur="750" fill="hold"/>
                        <p:tgtEl>
                          <p:spTgt spid="2"/>
                        </p:tgtEl>
                        <p:attrNameLst>
                          <p:attrName>ppt_w</p:attrName>
                        </p:attrNameLst>
                      </p:cBhvr>
                      <p:tavLst>
                        <p:tav tm="0">
                          <p:val>
                            <p:fltVal val="0"/>
                          </p:val>
                        </p:tav>
                        <p:tav tm="100000">
                          <p:val>
                            <p:strVal val="#ppt_w"/>
                          </p:val>
                        </p:tav>
                      </p:tavLst>
                    </p:anim>
                    <p:anim calcmode="lin" valueType="num">
                      <p:cBhvr>
                        <p:cTn dur="750" fill="hold"/>
                        <p:tgtEl>
                          <p:spTgt spid="2"/>
                        </p:tgtEl>
                        <p:attrNameLst>
                          <p:attrName>ppt_h</p:attrName>
                        </p:attrNameLst>
                      </p:cBhvr>
                      <p:tavLst>
                        <p:tav tm="0">
                          <p:val>
                            <p:fltVal val="0"/>
                          </p:val>
                        </p:tav>
                        <p:tav tm="100000">
                          <p:val>
                            <p:strVal val="#ppt_h"/>
                          </p:val>
                        </p:tav>
                      </p:tavLst>
                    </p:anim>
                    <p:animEffect transition="in" filter="fade">
                      <p:cBhvr>
                        <p:cTn dur="750"/>
                        <p:tgtEl>
                          <p:spTgt spid="2"/>
                        </p:tgtEl>
                      </p:cBhvr>
                    </p:animEffect>
                  </p:childTnLst>
                </p:cTn>
              </p:par>
            </p:tnLst>
          </p:tmpl>
        </p:tmplLst>
      </p:bldP>
      <p:bldP spid="3" grpId="0" animBg="1">
        <p:tmplLst>
          <p:tmpl>
            <p:tnLst>
              <p:par>
                <p:cTn presetID="12" presetClass="entr" presetSubtype="4" fill="hold" nodeType="withEffect">
                  <p:stCondLst>
                    <p:cond delay="750"/>
                  </p:stCondLst>
                  <p:childTnLst>
                    <p:set>
                      <p:cBhvr>
                        <p:cTn dur="1" fill="hold">
                          <p:stCondLst>
                            <p:cond delay="0"/>
                          </p:stCondLst>
                        </p:cTn>
                        <p:tgtEl>
                          <p:spTgt spid="3"/>
                        </p:tgtEl>
                        <p:attrNameLst>
                          <p:attrName>style.visibility</p:attrName>
                        </p:attrNameLst>
                      </p:cBhvr>
                      <p:to>
                        <p:strVal val="visible"/>
                      </p:to>
                    </p:set>
                    <p:anim calcmode="lin" valueType="num">
                      <p:cBhvr additive="base">
                        <p:cTn dur="750"/>
                        <p:tgtEl>
                          <p:spTgt spid="3"/>
                        </p:tgtEl>
                        <p:attrNameLst>
                          <p:attrName>ppt_y</p:attrName>
                        </p:attrNameLst>
                      </p:cBhvr>
                      <p:tavLst>
                        <p:tav tm="0">
                          <p:val>
                            <p:strVal val="#ppt_y+#ppt_h*1.125000"/>
                          </p:val>
                        </p:tav>
                        <p:tav tm="100000">
                          <p:val>
                            <p:strVal val="#ppt_y"/>
                          </p:val>
                        </p:tav>
                      </p:tavLst>
                    </p:anim>
                    <p:animEffect transition="in" filter="wipe(up)">
                      <p:cBhvr>
                        <p:cTn dur="750"/>
                        <p:tgtEl>
                          <p:spTgt spid="3"/>
                        </p:tgtEl>
                      </p:cBhvr>
                    </p:animEffect>
                  </p:childTnLst>
                </p:cTn>
              </p:par>
            </p:tnLst>
          </p:tmpl>
        </p:tmplLst>
      </p:bldP>
      <p:bldP spid="4" grpId="0" animBg="1">
        <p:tmplLst>
          <p:tmpl>
            <p:tnLst>
              <p:par>
                <p:cTn presetID="12" presetClass="entr" presetSubtype="4"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 calcmode="lin" valueType="num">
                      <p:cBhvr additive="base">
                        <p:cTn dur="750"/>
                        <p:tgtEl>
                          <p:spTgt spid="4"/>
                        </p:tgtEl>
                        <p:attrNameLst>
                          <p:attrName>ppt_y</p:attrName>
                        </p:attrNameLst>
                      </p:cBhvr>
                      <p:tavLst>
                        <p:tav tm="0">
                          <p:val>
                            <p:strVal val="#ppt_y+#ppt_h*1.125000"/>
                          </p:val>
                        </p:tav>
                        <p:tav tm="100000">
                          <p:val>
                            <p:strVal val="#ppt_y"/>
                          </p:val>
                        </p:tav>
                      </p:tavLst>
                    </p:anim>
                    <p:animEffect transition="in" filter="wipe(up)">
                      <p:cBhvr>
                        <p:cTn dur="750"/>
                        <p:tgtEl>
                          <p:spTgt spid="4"/>
                        </p:tgtEl>
                      </p:cBhvr>
                    </p:animEffect>
                  </p:childTnLst>
                </p:cTn>
              </p:par>
            </p:tnLst>
          </p:tmpl>
        </p:tmplLst>
      </p:bldP>
      <p:bldP spid="5" grpId="0" animBg="1">
        <p:tmplLst>
          <p:tmpl>
            <p:tnLst>
              <p:par>
                <p:cTn presetID="12" presetClass="entr" presetSubtype="4" fill="hold" nodeType="withEffect">
                  <p:stCondLst>
                    <p:cond delay="250"/>
                  </p:stCondLst>
                  <p:childTnLst>
                    <p:set>
                      <p:cBhvr>
                        <p:cTn dur="1" fill="hold">
                          <p:stCondLst>
                            <p:cond delay="0"/>
                          </p:stCondLst>
                        </p:cTn>
                        <p:tgtEl>
                          <p:spTgt spid="5"/>
                        </p:tgtEl>
                        <p:attrNameLst>
                          <p:attrName>style.visibility</p:attrName>
                        </p:attrNameLst>
                      </p:cBhvr>
                      <p:to>
                        <p:strVal val="visible"/>
                      </p:to>
                    </p:set>
                    <p:anim calcmode="lin" valueType="num">
                      <p:cBhvr additive="base">
                        <p:cTn dur="750"/>
                        <p:tgtEl>
                          <p:spTgt spid="5"/>
                        </p:tgtEl>
                        <p:attrNameLst>
                          <p:attrName>ppt_y</p:attrName>
                        </p:attrNameLst>
                      </p:cBhvr>
                      <p:tavLst>
                        <p:tav tm="0">
                          <p:val>
                            <p:strVal val="#ppt_y+#ppt_h*1.125000"/>
                          </p:val>
                        </p:tav>
                        <p:tav tm="100000">
                          <p:val>
                            <p:strVal val="#ppt_y"/>
                          </p:val>
                        </p:tav>
                      </p:tavLst>
                    </p:anim>
                    <p:animEffect transition="in" filter="wipe(up)">
                      <p:cBhvr>
                        <p:cTn dur="750"/>
                        <p:tgtEl>
                          <p:spTgt spid="5"/>
                        </p:tgtEl>
                      </p:cBhvr>
                    </p:animEffect>
                  </p:childTnLst>
                </p:cTn>
              </p:par>
            </p:tnLst>
          </p:tmpl>
        </p:tmplLst>
      </p:bldP>
      <p:bldP spid="6" grpId="0" animBg="1">
        <p:tmplLst>
          <p:tmpl>
            <p:tnLst>
              <p:par>
                <p:cTn presetID="12" presetClass="entr" presetSubtype="4" fill="hold" nodeType="after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additive="base">
                        <p:cTn dur="750"/>
                        <p:tgtEl>
                          <p:spTgt spid="6"/>
                        </p:tgtEl>
                        <p:attrNameLst>
                          <p:attrName>ppt_y</p:attrName>
                        </p:attrNameLst>
                      </p:cBhvr>
                      <p:tavLst>
                        <p:tav tm="0">
                          <p:val>
                            <p:strVal val="#ppt_y+#ppt_h*1.125000"/>
                          </p:val>
                        </p:tav>
                        <p:tav tm="100000">
                          <p:val>
                            <p:strVal val="#ppt_y"/>
                          </p:val>
                        </p:tav>
                      </p:tavLst>
                    </p:anim>
                    <p:animEffect transition="in" filter="wipe(up)">
                      <p:cBhvr>
                        <p:cTn dur="750"/>
                        <p:tgtEl>
                          <p:spTgt spid="6"/>
                        </p:tgtEl>
                      </p:cBhvr>
                    </p:animEffect>
                  </p:childTnLst>
                </p:cTn>
              </p:par>
            </p:tnLst>
          </p:tmpl>
        </p:tmplLst>
      </p:bldP>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ZI">
    <p:spTree>
      <p:nvGrpSpPr>
        <p:cNvPr id="1" name=""/>
        <p:cNvGrpSpPr/>
        <p:nvPr/>
      </p:nvGrpSpPr>
      <p:grpSpPr>
        <a:xfrm>
          <a:off x="0" y="0"/>
          <a:ext cx="0" cy="0"/>
          <a:chOff x="0" y="0"/>
          <a:chExt cx="0" cy="0"/>
        </a:xfrm>
      </p:grpSpPr>
      <p:sp>
        <p:nvSpPr>
          <p:cNvPr id="79" name="Tijdelijke aanduiding voor afbeelding 16">
            <a:extLst>
              <a:ext uri="{FF2B5EF4-FFF2-40B4-BE49-F238E27FC236}">
                <a16:creationId xmlns:a16="http://schemas.microsoft.com/office/drawing/2014/main" id="{B58464CF-AC46-0CF5-9A03-942DFB9749B7}"/>
              </a:ext>
            </a:extLst>
          </p:cNvPr>
          <p:cNvSpPr>
            <a:spLocks noGrp="1"/>
          </p:cNvSpPr>
          <p:nvPr>
            <p:ph type="pic" sz="quarter" idx="13" hasCustomPrompt="1"/>
          </p:nvPr>
        </p:nvSpPr>
        <p:spPr>
          <a:xfrm>
            <a:off x="0" y="2"/>
            <a:ext cx="12192001" cy="6857998"/>
          </a:xfrm>
          <a:solidFill>
            <a:schemeClr val="bg1">
              <a:lumMod val="95000"/>
            </a:schemeClr>
          </a:solidFill>
        </p:spPr>
        <p:txBody>
          <a:bodyPr tIns="0" bIns="1080000" anchor="ctr" anchorCtr="0"/>
          <a:lstStyle>
            <a:lvl1pPr marL="0" indent="0" algn="ctr">
              <a:buNone/>
              <a:defRPr sz="1200" i="1">
                <a:solidFill>
                  <a:schemeClr val="bg1">
                    <a:lumMod val="50000"/>
                  </a:schemeClr>
                </a:solidFill>
              </a:defRPr>
            </a:lvl1pPr>
          </a:lstStyle>
          <a:p>
            <a:r>
              <a:rPr lang="en-GB"/>
              <a:t>Select this placeholder, go to the tab ‘Slidebuilder’, click on ‘Images’, select the preferred image and click on ‘Insert’.</a:t>
            </a:r>
          </a:p>
        </p:txBody>
      </p:sp>
      <p:sp>
        <p:nvSpPr>
          <p:cNvPr id="3" name="Ondertitel 2">
            <a:extLst>
              <a:ext uri="{FF2B5EF4-FFF2-40B4-BE49-F238E27FC236}">
                <a16:creationId xmlns:a16="http://schemas.microsoft.com/office/drawing/2014/main" id="{CEA18CD7-32A7-41E4-9DF7-7259FA2187F6}"/>
              </a:ext>
            </a:extLst>
          </p:cNvPr>
          <p:cNvSpPr>
            <a:spLocks noGrp="1"/>
          </p:cNvSpPr>
          <p:nvPr>
            <p:ph type="subTitle" idx="1" hasCustomPrompt="1"/>
          </p:nvPr>
        </p:nvSpPr>
        <p:spPr>
          <a:xfrm>
            <a:off x="718946" y="5710306"/>
            <a:ext cx="5136349" cy="395785"/>
          </a:xfrm>
        </p:spPr>
        <p:txBody>
          <a:bodyPr anchor="t"/>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 of speaker here</a:t>
            </a:r>
          </a:p>
        </p:txBody>
      </p:sp>
      <p:sp>
        <p:nvSpPr>
          <p:cNvPr id="88" name="Tijdelijke aanduiding voor tekst 15">
            <a:extLst>
              <a:ext uri="{FF2B5EF4-FFF2-40B4-BE49-F238E27FC236}">
                <a16:creationId xmlns:a16="http://schemas.microsoft.com/office/drawing/2014/main" id="{0023AFB6-1403-A4C1-716C-051E9599D791}"/>
              </a:ext>
            </a:extLst>
          </p:cNvPr>
          <p:cNvSpPr>
            <a:spLocks noGrp="1"/>
          </p:cNvSpPr>
          <p:nvPr>
            <p:ph type="body" sz="quarter" idx="18" hasCustomPrompt="1"/>
          </p:nvPr>
        </p:nvSpPr>
        <p:spPr>
          <a:xfrm>
            <a:off x="718947" y="722313"/>
            <a:ext cx="1594247" cy="812512"/>
          </a:xfrm>
          <a:blipFill>
            <a:blip r:embed="rId2"/>
            <a:stretch>
              <a:fillRect/>
            </a:stretch>
          </a:blipFill>
        </p:spPr>
        <p:txBody>
          <a:bodyPr/>
          <a:lstStyle>
            <a:lvl1pPr marL="0" indent="0">
              <a:buNone/>
              <a:defRPr sz="100"/>
            </a:lvl1pPr>
          </a:lstStyle>
          <a:p>
            <a:pPr lvl="0"/>
            <a:r>
              <a:rPr lang="en-GB"/>
              <a:t> </a:t>
            </a:r>
          </a:p>
        </p:txBody>
      </p:sp>
      <p:sp>
        <p:nvSpPr>
          <p:cNvPr id="80" name="Tijdelijke aanduiding voor datum 3">
            <a:extLst>
              <a:ext uri="{FF2B5EF4-FFF2-40B4-BE49-F238E27FC236}">
                <a16:creationId xmlns:a16="http://schemas.microsoft.com/office/drawing/2014/main" id="{D410F314-1D67-A031-C451-797022B4925A}"/>
              </a:ext>
            </a:extLst>
          </p:cNvPr>
          <p:cNvSpPr>
            <a:spLocks noGrp="1"/>
          </p:cNvSpPr>
          <p:nvPr>
            <p:ph type="dt" sz="half" idx="2"/>
          </p:nvPr>
        </p:nvSpPr>
        <p:spPr>
          <a:xfrm>
            <a:off x="718946" y="6195358"/>
            <a:ext cx="2933400" cy="151790"/>
          </a:xfrm>
          <a:prstGeom prst="rect">
            <a:avLst/>
          </a:prstGeom>
        </p:spPr>
        <p:txBody>
          <a:bodyPr vert="horz" lIns="0" tIns="0" rIns="0" bIns="0" rtlCol="0" anchor="ctr">
            <a:noAutofit/>
          </a:bodyPr>
          <a:lstStyle>
            <a:lvl1pPr algn="l">
              <a:defRPr sz="1600">
                <a:solidFill>
                  <a:schemeClr val="tx1"/>
                </a:solidFill>
              </a:defRPr>
            </a:lvl1pPr>
          </a:lstStyle>
          <a:p>
            <a:fld id="{CF97DA82-84C5-4972-A41D-D2D51EA09891}" type="datetime3">
              <a:rPr lang="en-GB" smtClean="0"/>
              <a:t>3 June, 2025</a:t>
            </a:fld>
            <a:endParaRPr lang="en-GB"/>
          </a:p>
        </p:txBody>
      </p:sp>
      <p:sp>
        <p:nvSpPr>
          <p:cNvPr id="5" name="Tijdelijke aanduiding voor titel 1">
            <a:extLst>
              <a:ext uri="{FF2B5EF4-FFF2-40B4-BE49-F238E27FC236}">
                <a16:creationId xmlns:a16="http://schemas.microsoft.com/office/drawing/2014/main" id="{4F234B24-83D3-7CC9-76C9-6555FFA155AD}"/>
              </a:ext>
            </a:extLst>
          </p:cNvPr>
          <p:cNvSpPr>
            <a:spLocks noGrp="1"/>
          </p:cNvSpPr>
          <p:nvPr>
            <p:ph type="title" hasCustomPrompt="1"/>
          </p:nvPr>
        </p:nvSpPr>
        <p:spPr>
          <a:xfrm>
            <a:off x="0" y="-367937"/>
            <a:ext cx="2086708" cy="342211"/>
          </a:xfrm>
          <a:prstGeom prst="rect">
            <a:avLst/>
          </a:prstGeom>
        </p:spPr>
        <p:txBody>
          <a:bodyPr vert="horz" lIns="0" tIns="0" rIns="0" bIns="0" rtlCol="0" anchor="t">
            <a:noAutofit/>
          </a:bodyPr>
          <a:lstStyle>
            <a:lvl1pPr>
              <a:defRPr sz="1600">
                <a:solidFill>
                  <a:schemeClr val="accent1"/>
                </a:solidFill>
              </a:defRPr>
            </a:lvl1pPr>
          </a:lstStyle>
          <a:p>
            <a:pPr algn="l"/>
            <a:r>
              <a:rPr lang="en-GB" sz="1600" b="1" cap="none" baseline="0" noProof="0">
                <a:solidFill>
                  <a:schemeClr val="accent1"/>
                </a:solidFill>
                <a:latin typeface="+mj-lt"/>
              </a:rPr>
              <a:t>Title slide</a:t>
            </a:r>
          </a:p>
        </p:txBody>
      </p:sp>
      <p:sp>
        <p:nvSpPr>
          <p:cNvPr id="9" name="Tijdelijke aanduiding voor tekst 8">
            <a:extLst>
              <a:ext uri="{FF2B5EF4-FFF2-40B4-BE49-F238E27FC236}">
                <a16:creationId xmlns:a16="http://schemas.microsoft.com/office/drawing/2014/main" id="{4FD4B358-1033-FC99-149E-62875FBFF322}"/>
              </a:ext>
            </a:extLst>
          </p:cNvPr>
          <p:cNvSpPr>
            <a:spLocks noGrp="1"/>
          </p:cNvSpPr>
          <p:nvPr>
            <p:ph type="body" sz="quarter" idx="19" hasCustomPrompt="1"/>
          </p:nvPr>
        </p:nvSpPr>
        <p:spPr>
          <a:xfrm>
            <a:off x="721632" y="3438798"/>
            <a:ext cx="5133663" cy="2117352"/>
          </a:xfrm>
        </p:spPr>
        <p:txBody>
          <a:bodyPr anchor="b"/>
          <a:lstStyle>
            <a:lvl1pPr marL="0" indent="0">
              <a:buNone/>
              <a:defRPr sz="5000" b="1">
                <a:solidFill>
                  <a:schemeClr val="accent3"/>
                </a:solidFill>
                <a:latin typeface="+mj-lt"/>
              </a:defRPr>
            </a:lvl1pPr>
          </a:lstStyle>
          <a:p>
            <a:pPr lvl="0"/>
            <a:r>
              <a:rPr lang="en-US"/>
              <a:t>The title of the presentation can be placed here</a:t>
            </a:r>
          </a:p>
        </p:txBody>
      </p:sp>
    </p:spTree>
    <p:extLst>
      <p:ext uri="{BB962C8B-B14F-4D97-AF65-F5344CB8AC3E}">
        <p14:creationId xmlns:p14="http://schemas.microsoft.com/office/powerpoint/2010/main" val="3122077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75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80">
                                            <p:txEl>
                                              <p:pRg st="0" end="0"/>
                                            </p:txEl>
                                          </p:spTgt>
                                        </p:tgtEl>
                                        <p:attrNameLst>
                                          <p:attrName>style.visibility</p:attrName>
                                        </p:attrNameLst>
                                      </p:cBhvr>
                                      <p:to>
                                        <p:strVal val="visible"/>
                                      </p:to>
                                    </p:set>
                                    <p:animEffect transition="in" filter="fade">
                                      <p:cBhvr>
                                        <p:cTn id="15" dur="750"/>
                                        <p:tgtEl>
                                          <p:spTgt spid="8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80" grpId="0" build="p"/>
      <p:bldP spid="9" grpId="0">
        <p:tmplLst>
          <p:tmpl>
            <p:tnLst>
              <p:par>
                <p:cTn presetID="10"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107" name="Tijdelijke aanduiding voor titel 1">
            <a:extLst>
              <a:ext uri="{FF2B5EF4-FFF2-40B4-BE49-F238E27FC236}">
                <a16:creationId xmlns:a16="http://schemas.microsoft.com/office/drawing/2014/main" id="{6487721E-6D8E-22A6-150E-48B5B7398741}"/>
              </a:ext>
            </a:extLst>
          </p:cNvPr>
          <p:cNvSpPr>
            <a:spLocks noGrp="1"/>
          </p:cNvSpPr>
          <p:nvPr>
            <p:ph type="title" hasCustomPrompt="1"/>
          </p:nvPr>
        </p:nvSpPr>
        <p:spPr>
          <a:xfrm>
            <a:off x="0" y="-367937"/>
            <a:ext cx="2086708" cy="342211"/>
          </a:xfrm>
          <a:prstGeom prst="rect">
            <a:avLst/>
          </a:prstGeom>
        </p:spPr>
        <p:txBody>
          <a:bodyPr vert="horz" lIns="0" tIns="0" rIns="0" bIns="0" rtlCol="0" anchor="t">
            <a:noAutofit/>
          </a:bodyPr>
          <a:lstStyle>
            <a:lvl1pPr>
              <a:defRPr sz="1600">
                <a:solidFill>
                  <a:schemeClr val="accent1"/>
                </a:solidFill>
              </a:defRPr>
            </a:lvl1pPr>
          </a:lstStyle>
          <a:p>
            <a:r>
              <a:rPr lang="en-GB" noProof="0"/>
              <a:t>Empty</a:t>
            </a:r>
          </a:p>
        </p:txBody>
      </p:sp>
    </p:spTree>
    <p:extLst>
      <p:ext uri="{BB962C8B-B14F-4D97-AF65-F5344CB8AC3E}">
        <p14:creationId xmlns:p14="http://schemas.microsoft.com/office/powerpoint/2010/main" val="14027840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Introduction 2x">
    <p:spTree>
      <p:nvGrpSpPr>
        <p:cNvPr id="1" name=""/>
        <p:cNvGrpSpPr/>
        <p:nvPr/>
      </p:nvGrpSpPr>
      <p:grpSpPr>
        <a:xfrm>
          <a:off x="0" y="0"/>
          <a:ext cx="0" cy="0"/>
          <a:chOff x="0" y="0"/>
          <a:chExt cx="0" cy="0"/>
        </a:xfrm>
      </p:grpSpPr>
      <p:sp>
        <p:nvSpPr>
          <p:cNvPr id="11" name="Tijdelijke aanduiding voor tekst 10">
            <a:extLst>
              <a:ext uri="{FF2B5EF4-FFF2-40B4-BE49-F238E27FC236}">
                <a16:creationId xmlns:a16="http://schemas.microsoft.com/office/drawing/2014/main" id="{3C52A962-EFBC-1EA0-C4C7-9CF449A3B3DA}"/>
              </a:ext>
            </a:extLst>
          </p:cNvPr>
          <p:cNvSpPr txBox="1">
            <a:spLocks/>
          </p:cNvSpPr>
          <p:nvPr userDrawn="1"/>
        </p:nvSpPr>
        <p:spPr>
          <a:xfrm>
            <a:off x="193040" y="225424"/>
            <a:ext cx="11805920" cy="6424295"/>
          </a:xfrm>
          <a:prstGeom prst="roundRect">
            <a:avLst>
              <a:gd name="adj" fmla="val 3563"/>
            </a:avLst>
          </a:prstGeom>
          <a:solidFill>
            <a:schemeClr val="accent1">
              <a:alpha val="20000"/>
            </a:schemeClr>
          </a:solidFill>
        </p:spPr>
        <p:txBody>
          <a:bodyPr wrap="square">
            <a:noAutofit/>
          </a:bodyPr>
          <a:lstStyle>
            <a:lvl1pPr marL="0" indent="0" algn="l" defTabSz="914400" rtl="0" eaLnBrk="1" latinLnBrk="0" hangingPunct="1">
              <a:lnSpc>
                <a:spcPct val="90000"/>
              </a:lnSpc>
              <a:spcBef>
                <a:spcPts val="600"/>
              </a:spcBef>
              <a:spcAft>
                <a:spcPts val="600"/>
              </a:spcAft>
              <a:buClr>
                <a:schemeClr val="accent1"/>
              </a:buClr>
              <a:buSzPct val="110000"/>
              <a:buFont typeface="Aptos" panose="020B0004020202020204" pitchFamily="34" charset="0"/>
              <a:buNone/>
              <a:defRPr sz="100" kern="1200">
                <a:solidFill>
                  <a:schemeClr val="tx1"/>
                </a:solidFill>
                <a:latin typeface="+mn-lt"/>
                <a:ea typeface="+mn-ea"/>
                <a:cs typeface="+mn-cs"/>
              </a:defRPr>
            </a:lvl1pPr>
            <a:lvl2pPr marL="355600" indent="-177800" algn="l" defTabSz="914400" rtl="0" eaLnBrk="1" latinLnBrk="0" hangingPunct="1">
              <a:lnSpc>
                <a:spcPct val="90000"/>
              </a:lnSpc>
              <a:spcBef>
                <a:spcPts val="600"/>
              </a:spcBef>
              <a:spcAft>
                <a:spcPts val="600"/>
              </a:spcAft>
              <a:buClr>
                <a:schemeClr val="tx2"/>
              </a:buClr>
              <a:buFont typeface="Aptos" panose="020B0004020202020204" pitchFamily="34" charset="0"/>
              <a:buChar char="•"/>
              <a:tabLst/>
              <a:defRPr sz="1600" kern="1200">
                <a:solidFill>
                  <a:schemeClr val="tx1"/>
                </a:solidFill>
                <a:latin typeface="+mn-lt"/>
                <a:ea typeface="+mn-ea"/>
                <a:cs typeface="+mn-cs"/>
              </a:defRPr>
            </a:lvl2pPr>
            <a:lvl3pPr marL="531813" indent="-176213"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1600" kern="1200">
                <a:solidFill>
                  <a:schemeClr val="tx1"/>
                </a:solidFill>
                <a:latin typeface="+mn-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5"/>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2"/>
                </a:solidFill>
                <a:latin typeface="+mj-lt"/>
                <a:ea typeface="+mn-ea"/>
                <a:cs typeface="+mn-cs"/>
              </a:defRPr>
            </a:lvl6pPr>
            <a:lvl7pPr marL="342900" indent="-342900" algn="l" defTabSz="914400" rtl="0" eaLnBrk="1" latinLnBrk="0" hangingPunct="1">
              <a:lnSpc>
                <a:spcPct val="90000"/>
              </a:lnSpc>
              <a:spcBef>
                <a:spcPts val="600"/>
              </a:spcBef>
              <a:spcAft>
                <a:spcPts val="600"/>
              </a:spcAft>
              <a:buClr>
                <a:schemeClr val="tx2"/>
              </a:buClr>
              <a:buFont typeface="+mj-lt"/>
              <a:buAutoNum type="arabicPeriod"/>
              <a:tabLst/>
              <a:defRPr sz="1600" kern="1200">
                <a:solidFill>
                  <a:schemeClr val="tx1"/>
                </a:solidFill>
                <a:latin typeface="+mn-lt"/>
                <a:ea typeface="+mn-ea"/>
                <a:cs typeface="+mn-cs"/>
              </a:defRPr>
            </a:lvl7pPr>
            <a:lvl8pPr marL="342900" indent="-342900" algn="l" defTabSz="914400" rtl="0" eaLnBrk="1" latinLnBrk="0" hangingPunct="1">
              <a:lnSpc>
                <a:spcPct val="90000"/>
              </a:lnSpc>
              <a:spcBef>
                <a:spcPts val="600"/>
              </a:spcBef>
              <a:spcAft>
                <a:spcPts val="600"/>
              </a:spcAft>
              <a:buClr>
                <a:schemeClr val="tx2"/>
              </a:buClr>
              <a:buFont typeface="+mj-lt"/>
              <a:buAutoNum type="alphaLcPeriod"/>
              <a:defRPr sz="1600" kern="1200">
                <a:solidFill>
                  <a:schemeClr val="tx1"/>
                </a:solidFill>
                <a:latin typeface="+mn-lt"/>
                <a:ea typeface="+mn-ea"/>
                <a:cs typeface="+mn-cs"/>
              </a:defRPr>
            </a:lvl8pPr>
            <a:lvl9pPr marL="541338" indent="-180975"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600" i="0" kern="1200">
                <a:solidFill>
                  <a:schemeClr val="tx1"/>
                </a:solidFill>
                <a:latin typeface="+mn-lt"/>
                <a:ea typeface="+mn-ea"/>
                <a:cs typeface="+mn-cs"/>
              </a:defRPr>
            </a:lvl9pPr>
          </a:lstStyle>
          <a:p>
            <a:r>
              <a:rPr lang="en-GB"/>
              <a:t> </a:t>
            </a:r>
          </a:p>
        </p:txBody>
      </p:sp>
      <p:sp>
        <p:nvSpPr>
          <p:cNvPr id="21" name="Tijdelijke aanduiding voor afbeelding 32">
            <a:extLst>
              <a:ext uri="{FF2B5EF4-FFF2-40B4-BE49-F238E27FC236}">
                <a16:creationId xmlns:a16="http://schemas.microsoft.com/office/drawing/2014/main" id="{7FB1BB73-1253-CB4E-078B-44C9EF59ECB7}"/>
              </a:ext>
            </a:extLst>
          </p:cNvPr>
          <p:cNvSpPr>
            <a:spLocks noGrp="1"/>
          </p:cNvSpPr>
          <p:nvPr>
            <p:ph type="pic" sz="quarter" idx="21" hasCustomPrompt="1"/>
          </p:nvPr>
        </p:nvSpPr>
        <p:spPr>
          <a:xfrm>
            <a:off x="708207" y="1592264"/>
            <a:ext cx="1725347" cy="1845308"/>
          </a:xfrm>
          <a:prstGeom prst="roundRect">
            <a:avLst>
              <a:gd name="adj" fmla="val 8502"/>
            </a:avLst>
          </a:prstGeom>
          <a:solidFill>
            <a:schemeClr val="bg1">
              <a:lumMod val="95000"/>
            </a:schemeClr>
          </a:solidFill>
          <a:ln w="15875">
            <a:noFill/>
          </a:ln>
        </p:spPr>
        <p:txBody>
          <a:bodyPr wrap="square" lIns="180000" tIns="0" rIns="180000" bIns="1080000" anchor="ctr" anchorCtr="0">
            <a:noAutofit/>
          </a:bodyPr>
          <a:lstStyle>
            <a:lvl1pPr marL="0" indent="0" algn="ctr">
              <a:lnSpc>
                <a:spcPct val="70000"/>
              </a:lnSpc>
              <a:buNone/>
              <a:defRPr sz="1000" i="1">
                <a:solidFill>
                  <a:schemeClr val="bg1">
                    <a:lumMod val="50000"/>
                  </a:schemeClr>
                </a:solidFill>
              </a:defRPr>
            </a:lvl1pPr>
          </a:lstStyle>
          <a:p>
            <a:r>
              <a:rPr lang="en-GB"/>
              <a:t>Select this placeholder, go to the tab ‘Slidebuilder’, click on ‘Images’, select the preferred image and click on ‘Insert’.</a:t>
            </a:r>
          </a:p>
        </p:txBody>
      </p:sp>
      <p:sp>
        <p:nvSpPr>
          <p:cNvPr id="12" name="Tijdelijke aanduiding voor tekst 15">
            <a:extLst>
              <a:ext uri="{FF2B5EF4-FFF2-40B4-BE49-F238E27FC236}">
                <a16:creationId xmlns:a16="http://schemas.microsoft.com/office/drawing/2014/main" id="{7003C0B1-7212-7298-9837-FE612FA36AA8}"/>
              </a:ext>
            </a:extLst>
          </p:cNvPr>
          <p:cNvSpPr>
            <a:spLocks noGrp="1"/>
          </p:cNvSpPr>
          <p:nvPr>
            <p:ph type="body" sz="quarter" idx="14" hasCustomPrompt="1"/>
          </p:nvPr>
        </p:nvSpPr>
        <p:spPr>
          <a:xfrm>
            <a:off x="720000" y="6060536"/>
            <a:ext cx="932400" cy="475200"/>
          </a:xfrm>
          <a:blipFill>
            <a:blip r:embed="rId2"/>
            <a:stretch>
              <a:fillRect/>
            </a:stretch>
          </a:blipFill>
        </p:spPr>
        <p:txBody>
          <a:bodyPr/>
          <a:lstStyle>
            <a:lvl1pPr marL="0" indent="0">
              <a:buNone/>
              <a:defRPr sz="100"/>
            </a:lvl1pPr>
          </a:lstStyle>
          <a:p>
            <a:pPr lvl="0"/>
            <a:r>
              <a:rPr lang="en-GB"/>
              <a:t> </a:t>
            </a:r>
          </a:p>
        </p:txBody>
      </p:sp>
      <p:sp>
        <p:nvSpPr>
          <p:cNvPr id="7" name="Rechthoek: afgeronde hoeken 6">
            <a:extLst>
              <a:ext uri="{FF2B5EF4-FFF2-40B4-BE49-F238E27FC236}">
                <a16:creationId xmlns:a16="http://schemas.microsoft.com/office/drawing/2014/main" id="{EE82F239-2B35-4039-9A61-4FB8C953EA19}"/>
              </a:ext>
            </a:extLst>
          </p:cNvPr>
          <p:cNvSpPr/>
          <p:nvPr userDrawn="1"/>
        </p:nvSpPr>
        <p:spPr>
          <a:xfrm>
            <a:off x="0" y="-367937"/>
            <a:ext cx="1310039" cy="24622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en-GB" sz="1600" b="1" cap="none" baseline="0" noProof="0">
                <a:solidFill>
                  <a:schemeClr val="accent1"/>
                </a:solidFill>
                <a:latin typeface="+mj-lt"/>
              </a:rPr>
              <a:t>Introduction 2x</a:t>
            </a:r>
          </a:p>
        </p:txBody>
      </p:sp>
      <p:sp>
        <p:nvSpPr>
          <p:cNvPr id="8" name="Tijdelijke aanduiding voor tekst 12">
            <a:extLst>
              <a:ext uri="{FF2B5EF4-FFF2-40B4-BE49-F238E27FC236}">
                <a16:creationId xmlns:a16="http://schemas.microsoft.com/office/drawing/2014/main" id="{FBA7C0EF-C85B-4505-8107-015B15633D93}"/>
              </a:ext>
            </a:extLst>
          </p:cNvPr>
          <p:cNvSpPr>
            <a:spLocks noGrp="1"/>
          </p:cNvSpPr>
          <p:nvPr>
            <p:ph type="body" sz="quarter" idx="18" hasCustomPrompt="1"/>
          </p:nvPr>
        </p:nvSpPr>
        <p:spPr>
          <a:xfrm>
            <a:off x="708207" y="707795"/>
            <a:ext cx="36000" cy="396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buNone/>
              <a:defRPr sz="100"/>
            </a:lvl1pPr>
          </a:lstStyle>
          <a:p>
            <a:pPr lvl="0"/>
            <a:r>
              <a:rPr lang="en-GB"/>
              <a:t> </a:t>
            </a:r>
          </a:p>
        </p:txBody>
      </p:sp>
      <p:sp>
        <p:nvSpPr>
          <p:cNvPr id="10" name="Tijdelijke aanduiding voor titel 1">
            <a:extLst>
              <a:ext uri="{FF2B5EF4-FFF2-40B4-BE49-F238E27FC236}">
                <a16:creationId xmlns:a16="http://schemas.microsoft.com/office/drawing/2014/main" id="{66DDD4FA-5C0A-526B-A5D0-BD4D9C52DA68}"/>
              </a:ext>
            </a:extLst>
          </p:cNvPr>
          <p:cNvSpPr>
            <a:spLocks noGrp="1"/>
          </p:cNvSpPr>
          <p:nvPr>
            <p:ph type="title" hasCustomPrompt="1"/>
          </p:nvPr>
        </p:nvSpPr>
        <p:spPr>
          <a:xfrm>
            <a:off x="865163" y="722313"/>
            <a:ext cx="10606838" cy="342211"/>
          </a:xfrm>
          <a:prstGeom prst="rect">
            <a:avLst/>
          </a:prstGeom>
        </p:spPr>
        <p:txBody>
          <a:bodyPr vert="horz" lIns="0" tIns="0" rIns="0" bIns="0" rtlCol="0" anchor="t">
            <a:noAutofit/>
          </a:bodyPr>
          <a:lstStyle/>
          <a:p>
            <a:r>
              <a:rPr lang="en-GB" noProof="0"/>
              <a:t>Place the title of the slide here</a:t>
            </a:r>
          </a:p>
        </p:txBody>
      </p:sp>
      <p:sp>
        <p:nvSpPr>
          <p:cNvPr id="14" name="Tijdelijke aanduiding voor tekst 26">
            <a:extLst>
              <a:ext uri="{FF2B5EF4-FFF2-40B4-BE49-F238E27FC236}">
                <a16:creationId xmlns:a16="http://schemas.microsoft.com/office/drawing/2014/main" id="{EAFE4CF3-B339-8A11-F0E5-E407B4650259}"/>
              </a:ext>
            </a:extLst>
          </p:cNvPr>
          <p:cNvSpPr>
            <a:spLocks noGrp="1"/>
          </p:cNvSpPr>
          <p:nvPr>
            <p:ph type="body" sz="quarter" idx="19" hasCustomPrompt="1"/>
          </p:nvPr>
        </p:nvSpPr>
        <p:spPr>
          <a:xfrm>
            <a:off x="2676150" y="1993933"/>
            <a:ext cx="3096000" cy="249299"/>
          </a:xfrm>
        </p:spPr>
        <p:txBody>
          <a:bodyPr>
            <a:spAutoFit/>
          </a:bodyPr>
          <a:lstStyle>
            <a:lvl1pPr marL="0" indent="0">
              <a:buFontTx/>
              <a:buNone/>
              <a:defRPr sz="1800" b="1" cap="none" baseline="0">
                <a:solidFill>
                  <a:schemeClr val="accent1"/>
                </a:solidFill>
                <a:latin typeface="+mj-lt"/>
              </a:defRPr>
            </a:lvl1pPr>
            <a:lvl4pPr>
              <a:defRPr/>
            </a:lvl4pPr>
          </a:lstStyle>
          <a:p>
            <a:pPr lvl="0"/>
            <a:r>
              <a:rPr lang="en-GB"/>
              <a:t>Function</a:t>
            </a:r>
          </a:p>
        </p:txBody>
      </p:sp>
      <p:sp>
        <p:nvSpPr>
          <p:cNvPr id="15" name="Tijdelijke aanduiding voor tekst 8">
            <a:extLst>
              <a:ext uri="{FF2B5EF4-FFF2-40B4-BE49-F238E27FC236}">
                <a16:creationId xmlns:a16="http://schemas.microsoft.com/office/drawing/2014/main" id="{112C4D7E-8E02-D6D7-F32F-4047454A00FA}"/>
              </a:ext>
            </a:extLst>
          </p:cNvPr>
          <p:cNvSpPr>
            <a:spLocks noGrp="1"/>
          </p:cNvSpPr>
          <p:nvPr>
            <p:ph type="body" sz="quarter" idx="78" hasCustomPrompt="1"/>
          </p:nvPr>
        </p:nvSpPr>
        <p:spPr>
          <a:xfrm>
            <a:off x="2676150" y="3081427"/>
            <a:ext cx="3096000" cy="2591479"/>
          </a:xfrm>
        </p:spPr>
        <p:txBody>
          <a:bodyPr wrap="square">
            <a:spAutoFit/>
          </a:bodyPr>
          <a:lstStyle>
            <a:lvl1pPr marL="0" indent="0">
              <a:buNone/>
              <a:defRPr sz="1600" b="0" baseline="0">
                <a:solidFill>
                  <a:schemeClr val="tx2"/>
                </a:solidFill>
              </a:defRPr>
            </a:lvl1pPr>
          </a:lstStyle>
          <a:p>
            <a:pPr lvl="0"/>
            <a:r>
              <a:rPr lang="en-GB" noProof="0"/>
              <a:t>Add your text here Lorem ipsum dolor sit amet, consectetuer adipiscing elit. Maecenas porttitor congue massa. Fusce posuere, magna sed pulvinar ultricies, purus lectus malesuada libero, sit amet commodo magna eros quis urna.</a:t>
            </a:r>
          </a:p>
          <a:p>
            <a:pPr lvl="0"/>
            <a:r>
              <a:rPr lang="en-GB" noProof="0" err="1"/>
              <a:t>Pellentesque</a:t>
            </a:r>
            <a:r>
              <a:rPr lang="en-GB" noProof="0"/>
              <a:t> habitant morbi tristique senectus et netus et malesuada fames ac turpis egestas. Proin pharetra nonummy </a:t>
            </a:r>
            <a:r>
              <a:rPr lang="en-GB" noProof="0" err="1"/>
              <a:t>pede</a:t>
            </a:r>
            <a:r>
              <a:rPr lang="en-GB" noProof="0"/>
              <a:t>.</a:t>
            </a:r>
          </a:p>
        </p:txBody>
      </p:sp>
      <p:sp>
        <p:nvSpPr>
          <p:cNvPr id="18" name="Tijdelijke aanduiding voor tekst 8">
            <a:extLst>
              <a:ext uri="{FF2B5EF4-FFF2-40B4-BE49-F238E27FC236}">
                <a16:creationId xmlns:a16="http://schemas.microsoft.com/office/drawing/2014/main" id="{ACBD80DC-013E-7F4B-297E-05D77CFB5891}"/>
              </a:ext>
            </a:extLst>
          </p:cNvPr>
          <p:cNvSpPr>
            <a:spLocks noGrp="1"/>
          </p:cNvSpPr>
          <p:nvPr>
            <p:ph type="body" sz="quarter" idx="80" hasCustomPrompt="1"/>
          </p:nvPr>
        </p:nvSpPr>
        <p:spPr>
          <a:xfrm>
            <a:off x="2676149" y="2395251"/>
            <a:ext cx="3096000" cy="221599"/>
          </a:xfrm>
        </p:spPr>
        <p:txBody>
          <a:bodyPr wrap="square">
            <a:spAutoFit/>
          </a:bodyPr>
          <a:lstStyle>
            <a:lvl1pPr marL="0" indent="0">
              <a:buNone/>
              <a:defRPr sz="1600" b="1">
                <a:solidFill>
                  <a:schemeClr val="tx2"/>
                </a:solidFill>
              </a:defRPr>
            </a:lvl1pPr>
          </a:lstStyle>
          <a:p>
            <a:pPr lvl="0"/>
            <a:r>
              <a:rPr lang="en-GB" noProof="0"/>
              <a:t>E-mail</a:t>
            </a:r>
          </a:p>
        </p:txBody>
      </p:sp>
      <p:sp>
        <p:nvSpPr>
          <p:cNvPr id="19" name="Tijdelijke aanduiding voor tekst 8">
            <a:extLst>
              <a:ext uri="{FF2B5EF4-FFF2-40B4-BE49-F238E27FC236}">
                <a16:creationId xmlns:a16="http://schemas.microsoft.com/office/drawing/2014/main" id="{B5A80EAC-5AB6-AD98-BF9F-5AD56083BC44}"/>
              </a:ext>
            </a:extLst>
          </p:cNvPr>
          <p:cNvSpPr>
            <a:spLocks noGrp="1"/>
          </p:cNvSpPr>
          <p:nvPr>
            <p:ph type="body" sz="quarter" idx="81" hasCustomPrompt="1"/>
          </p:nvPr>
        </p:nvSpPr>
        <p:spPr>
          <a:xfrm>
            <a:off x="2676150" y="2657060"/>
            <a:ext cx="3096000" cy="221599"/>
          </a:xfrm>
        </p:spPr>
        <p:txBody>
          <a:bodyPr wrap="square">
            <a:spAutoFit/>
          </a:bodyPr>
          <a:lstStyle>
            <a:lvl1pPr marL="0" indent="0">
              <a:buNone/>
              <a:defRPr sz="1600" b="1" baseline="0">
                <a:solidFill>
                  <a:schemeClr val="tx2"/>
                </a:solidFill>
              </a:defRPr>
            </a:lvl1pPr>
          </a:lstStyle>
          <a:p>
            <a:pPr lvl="0"/>
            <a:r>
              <a:rPr lang="en-GB" noProof="0"/>
              <a:t>Telephone number</a:t>
            </a:r>
          </a:p>
        </p:txBody>
      </p:sp>
      <p:sp>
        <p:nvSpPr>
          <p:cNvPr id="25" name="Tijdelijke aanduiding voor tekst 26">
            <a:extLst>
              <a:ext uri="{FF2B5EF4-FFF2-40B4-BE49-F238E27FC236}">
                <a16:creationId xmlns:a16="http://schemas.microsoft.com/office/drawing/2014/main" id="{A7121347-860E-BC73-73C2-A730C77B08BD}"/>
              </a:ext>
            </a:extLst>
          </p:cNvPr>
          <p:cNvSpPr>
            <a:spLocks noGrp="1"/>
          </p:cNvSpPr>
          <p:nvPr>
            <p:ph type="body" sz="quarter" idx="82" hasCustomPrompt="1"/>
          </p:nvPr>
        </p:nvSpPr>
        <p:spPr>
          <a:xfrm>
            <a:off x="2676150" y="1696003"/>
            <a:ext cx="3096000" cy="332399"/>
          </a:xfrm>
        </p:spPr>
        <p:txBody>
          <a:bodyPr>
            <a:spAutoFit/>
          </a:bodyPr>
          <a:lstStyle>
            <a:lvl1pPr marL="0" indent="0">
              <a:buFontTx/>
              <a:buNone/>
              <a:defRPr sz="2400" b="1" cap="none" baseline="0">
                <a:solidFill>
                  <a:schemeClr val="tx2"/>
                </a:solidFill>
                <a:latin typeface="+mj-lt"/>
              </a:defRPr>
            </a:lvl1pPr>
            <a:lvl4pPr>
              <a:defRPr/>
            </a:lvl4pPr>
          </a:lstStyle>
          <a:p>
            <a:pPr lvl="0"/>
            <a:r>
              <a:rPr lang="en-GB"/>
              <a:t>Name of Speaker</a:t>
            </a:r>
          </a:p>
        </p:txBody>
      </p:sp>
      <p:sp>
        <p:nvSpPr>
          <p:cNvPr id="28" name="Tijdelijke aanduiding voor tekst 12">
            <a:extLst>
              <a:ext uri="{FF2B5EF4-FFF2-40B4-BE49-F238E27FC236}">
                <a16:creationId xmlns:a16="http://schemas.microsoft.com/office/drawing/2014/main" id="{746B01D2-48A8-1A36-84F6-C20F14BC9E1D}"/>
              </a:ext>
            </a:extLst>
          </p:cNvPr>
          <p:cNvSpPr>
            <a:spLocks noGrp="1"/>
          </p:cNvSpPr>
          <p:nvPr>
            <p:ph type="body" sz="quarter" idx="83" hasCustomPrompt="1"/>
          </p:nvPr>
        </p:nvSpPr>
        <p:spPr>
          <a:xfrm rot="16200000">
            <a:off x="3061350" y="1912706"/>
            <a:ext cx="21600" cy="792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bg2"/>
          </a:solidFill>
        </p:spPr>
        <p:txBody>
          <a:bodyPr wrap="square">
            <a:noAutofit/>
          </a:bodyPr>
          <a:lstStyle>
            <a:lvl1pPr marL="0" indent="0">
              <a:buNone/>
              <a:defRPr sz="100"/>
            </a:lvl1pPr>
          </a:lstStyle>
          <a:p>
            <a:pPr lvl="0"/>
            <a:r>
              <a:rPr lang="en-GB"/>
              <a:t> </a:t>
            </a:r>
          </a:p>
        </p:txBody>
      </p:sp>
      <p:sp>
        <p:nvSpPr>
          <p:cNvPr id="22" name="Tijdelijke aanduiding voor afbeelding 32">
            <a:extLst>
              <a:ext uri="{FF2B5EF4-FFF2-40B4-BE49-F238E27FC236}">
                <a16:creationId xmlns:a16="http://schemas.microsoft.com/office/drawing/2014/main" id="{64DA3BED-7543-E31E-0382-BAF408BE0356}"/>
              </a:ext>
            </a:extLst>
          </p:cNvPr>
          <p:cNvSpPr>
            <a:spLocks noGrp="1"/>
          </p:cNvSpPr>
          <p:nvPr>
            <p:ph type="pic" sz="quarter" idx="84" hasCustomPrompt="1"/>
          </p:nvPr>
        </p:nvSpPr>
        <p:spPr>
          <a:xfrm>
            <a:off x="6383338" y="1592264"/>
            <a:ext cx="1725347" cy="1845308"/>
          </a:xfrm>
          <a:prstGeom prst="roundRect">
            <a:avLst>
              <a:gd name="adj" fmla="val 8502"/>
            </a:avLst>
          </a:prstGeom>
          <a:solidFill>
            <a:schemeClr val="bg1">
              <a:lumMod val="95000"/>
            </a:schemeClr>
          </a:solidFill>
          <a:ln w="15875">
            <a:noFill/>
          </a:ln>
        </p:spPr>
        <p:txBody>
          <a:bodyPr wrap="square" lIns="180000" tIns="0" rIns="180000" bIns="1080000" anchor="ctr" anchorCtr="0">
            <a:noAutofit/>
          </a:bodyPr>
          <a:lstStyle>
            <a:lvl1pPr marL="0" indent="0" algn="ctr">
              <a:lnSpc>
                <a:spcPct val="70000"/>
              </a:lnSpc>
              <a:buNone/>
              <a:defRPr sz="1000" i="1">
                <a:solidFill>
                  <a:schemeClr val="bg1">
                    <a:lumMod val="50000"/>
                  </a:schemeClr>
                </a:solidFill>
              </a:defRPr>
            </a:lvl1pPr>
          </a:lstStyle>
          <a:p>
            <a:r>
              <a:rPr lang="en-GB"/>
              <a:t>Select this placeholder, go to the tab ‘Slidebuilder’, click on ‘Images’, select the preferred image and click on ‘Insert’.</a:t>
            </a:r>
          </a:p>
        </p:txBody>
      </p:sp>
      <p:sp>
        <p:nvSpPr>
          <p:cNvPr id="23" name="Tijdelijke aanduiding voor tekst 26">
            <a:extLst>
              <a:ext uri="{FF2B5EF4-FFF2-40B4-BE49-F238E27FC236}">
                <a16:creationId xmlns:a16="http://schemas.microsoft.com/office/drawing/2014/main" id="{9BCA8E9C-E1F1-823E-31FE-36E3A3A1B6DA}"/>
              </a:ext>
            </a:extLst>
          </p:cNvPr>
          <p:cNvSpPr>
            <a:spLocks noGrp="1"/>
          </p:cNvSpPr>
          <p:nvPr>
            <p:ph type="body" sz="quarter" idx="85" hasCustomPrompt="1"/>
          </p:nvPr>
        </p:nvSpPr>
        <p:spPr>
          <a:xfrm>
            <a:off x="8351281" y="1993933"/>
            <a:ext cx="3096000" cy="249299"/>
          </a:xfrm>
        </p:spPr>
        <p:txBody>
          <a:bodyPr>
            <a:spAutoFit/>
          </a:bodyPr>
          <a:lstStyle>
            <a:lvl1pPr marL="0" indent="0">
              <a:buFontTx/>
              <a:buNone/>
              <a:defRPr sz="1800" b="1" cap="none" baseline="0">
                <a:solidFill>
                  <a:schemeClr val="accent1"/>
                </a:solidFill>
                <a:latin typeface="+mj-lt"/>
              </a:defRPr>
            </a:lvl1pPr>
            <a:lvl4pPr>
              <a:defRPr/>
            </a:lvl4pPr>
          </a:lstStyle>
          <a:p>
            <a:pPr lvl="0"/>
            <a:r>
              <a:rPr lang="en-GB"/>
              <a:t>Function</a:t>
            </a:r>
          </a:p>
        </p:txBody>
      </p:sp>
      <p:sp>
        <p:nvSpPr>
          <p:cNvPr id="24" name="Tijdelijke aanduiding voor tekst 8">
            <a:extLst>
              <a:ext uri="{FF2B5EF4-FFF2-40B4-BE49-F238E27FC236}">
                <a16:creationId xmlns:a16="http://schemas.microsoft.com/office/drawing/2014/main" id="{8DE6BA3C-C128-CD98-6400-BDFFE67BE862}"/>
              </a:ext>
            </a:extLst>
          </p:cNvPr>
          <p:cNvSpPr>
            <a:spLocks noGrp="1"/>
          </p:cNvSpPr>
          <p:nvPr>
            <p:ph type="body" sz="quarter" idx="86" hasCustomPrompt="1"/>
          </p:nvPr>
        </p:nvSpPr>
        <p:spPr>
          <a:xfrm>
            <a:off x="8351281" y="3081427"/>
            <a:ext cx="3096000" cy="2966966"/>
          </a:xfrm>
        </p:spPr>
        <p:txBody>
          <a:bodyPr wrap="square">
            <a:spAutoFit/>
          </a:bodyPr>
          <a:lstStyle>
            <a:lvl1pPr marL="0" indent="0">
              <a:buNone/>
              <a:defRPr sz="1600" b="0" baseline="0">
                <a:solidFill>
                  <a:schemeClr val="tx2"/>
                </a:solidFill>
              </a:defRPr>
            </a:lvl1pPr>
          </a:lstStyle>
          <a:p>
            <a:pPr lvl="0"/>
            <a:r>
              <a:rPr lang="en-GB" noProof="0"/>
              <a:t>Add your text here Lorem ipsum dolor sit amet, consectetuer adipiscing elit. Maecenas porttitor congue massa. Fusce posuere, magna sed pulvinar ultricies, purus lectus malesuada libero, sit amet commodo magna eros quis urna.</a:t>
            </a:r>
          </a:p>
          <a:p>
            <a:pPr lvl="0"/>
            <a:r>
              <a:rPr lang="en-GB" noProof="0" err="1"/>
              <a:t>Pellentesque</a:t>
            </a:r>
            <a:r>
              <a:rPr lang="en-GB" noProof="0"/>
              <a:t> habitant morbi tristique senectus et netus et malesuada fames ac turpis egestas. Proin pharetra nonummy pede. </a:t>
            </a:r>
          </a:p>
          <a:p>
            <a:pPr lvl="0"/>
            <a:endParaRPr lang="en-GB" noProof="0"/>
          </a:p>
        </p:txBody>
      </p:sp>
      <p:sp>
        <p:nvSpPr>
          <p:cNvPr id="26" name="Tijdelijke aanduiding voor tekst 8">
            <a:extLst>
              <a:ext uri="{FF2B5EF4-FFF2-40B4-BE49-F238E27FC236}">
                <a16:creationId xmlns:a16="http://schemas.microsoft.com/office/drawing/2014/main" id="{CD3E537A-4E4F-BBC9-8897-E4AC3A1DF234}"/>
              </a:ext>
            </a:extLst>
          </p:cNvPr>
          <p:cNvSpPr>
            <a:spLocks noGrp="1"/>
          </p:cNvSpPr>
          <p:nvPr>
            <p:ph type="body" sz="quarter" idx="87" hasCustomPrompt="1"/>
          </p:nvPr>
        </p:nvSpPr>
        <p:spPr>
          <a:xfrm>
            <a:off x="8351280" y="2395251"/>
            <a:ext cx="3096000" cy="221599"/>
          </a:xfrm>
        </p:spPr>
        <p:txBody>
          <a:bodyPr wrap="square">
            <a:spAutoFit/>
          </a:bodyPr>
          <a:lstStyle>
            <a:lvl1pPr marL="0" indent="0">
              <a:buNone/>
              <a:defRPr sz="1600" b="1">
                <a:solidFill>
                  <a:schemeClr val="tx2"/>
                </a:solidFill>
              </a:defRPr>
            </a:lvl1pPr>
          </a:lstStyle>
          <a:p>
            <a:pPr lvl="0"/>
            <a:r>
              <a:rPr lang="en-GB" noProof="0"/>
              <a:t>E-mail</a:t>
            </a:r>
          </a:p>
        </p:txBody>
      </p:sp>
      <p:sp>
        <p:nvSpPr>
          <p:cNvPr id="27" name="Tijdelijke aanduiding voor tekst 8">
            <a:extLst>
              <a:ext uri="{FF2B5EF4-FFF2-40B4-BE49-F238E27FC236}">
                <a16:creationId xmlns:a16="http://schemas.microsoft.com/office/drawing/2014/main" id="{D929EFC6-95D4-FEFE-52A5-84EFDA73B353}"/>
              </a:ext>
            </a:extLst>
          </p:cNvPr>
          <p:cNvSpPr>
            <a:spLocks noGrp="1"/>
          </p:cNvSpPr>
          <p:nvPr>
            <p:ph type="body" sz="quarter" idx="88" hasCustomPrompt="1"/>
          </p:nvPr>
        </p:nvSpPr>
        <p:spPr>
          <a:xfrm>
            <a:off x="8351281" y="2657060"/>
            <a:ext cx="3096000" cy="221599"/>
          </a:xfrm>
        </p:spPr>
        <p:txBody>
          <a:bodyPr wrap="square">
            <a:spAutoFit/>
          </a:bodyPr>
          <a:lstStyle>
            <a:lvl1pPr marL="0" indent="0">
              <a:buNone/>
              <a:defRPr sz="1600" b="1" baseline="0">
                <a:solidFill>
                  <a:schemeClr val="tx2"/>
                </a:solidFill>
              </a:defRPr>
            </a:lvl1pPr>
          </a:lstStyle>
          <a:p>
            <a:pPr lvl="0"/>
            <a:r>
              <a:rPr lang="en-GB" noProof="0"/>
              <a:t>Telephone number</a:t>
            </a:r>
          </a:p>
        </p:txBody>
      </p:sp>
      <p:sp>
        <p:nvSpPr>
          <p:cNvPr id="29" name="Tijdelijke aanduiding voor tekst 26">
            <a:extLst>
              <a:ext uri="{FF2B5EF4-FFF2-40B4-BE49-F238E27FC236}">
                <a16:creationId xmlns:a16="http://schemas.microsoft.com/office/drawing/2014/main" id="{10DDCA41-E81E-6F3D-BC74-FE21584902E3}"/>
              </a:ext>
            </a:extLst>
          </p:cNvPr>
          <p:cNvSpPr>
            <a:spLocks noGrp="1"/>
          </p:cNvSpPr>
          <p:nvPr>
            <p:ph type="body" sz="quarter" idx="89" hasCustomPrompt="1"/>
          </p:nvPr>
        </p:nvSpPr>
        <p:spPr>
          <a:xfrm>
            <a:off x="8351281" y="1696003"/>
            <a:ext cx="3096000" cy="332399"/>
          </a:xfrm>
        </p:spPr>
        <p:txBody>
          <a:bodyPr>
            <a:spAutoFit/>
          </a:bodyPr>
          <a:lstStyle>
            <a:lvl1pPr marL="0" indent="0">
              <a:buFontTx/>
              <a:buNone/>
              <a:defRPr sz="2400" b="1" cap="none" baseline="0">
                <a:solidFill>
                  <a:schemeClr val="tx2"/>
                </a:solidFill>
                <a:latin typeface="+mj-lt"/>
              </a:defRPr>
            </a:lvl1pPr>
            <a:lvl4pPr>
              <a:defRPr/>
            </a:lvl4pPr>
          </a:lstStyle>
          <a:p>
            <a:pPr lvl="0"/>
            <a:r>
              <a:rPr lang="en-GB"/>
              <a:t>Name of Speaker</a:t>
            </a:r>
          </a:p>
        </p:txBody>
      </p:sp>
      <p:sp>
        <p:nvSpPr>
          <p:cNvPr id="30" name="Tijdelijke aanduiding voor tekst 12">
            <a:extLst>
              <a:ext uri="{FF2B5EF4-FFF2-40B4-BE49-F238E27FC236}">
                <a16:creationId xmlns:a16="http://schemas.microsoft.com/office/drawing/2014/main" id="{E612AEAB-7474-B4ED-9445-49B9292E6AE9}"/>
              </a:ext>
            </a:extLst>
          </p:cNvPr>
          <p:cNvSpPr>
            <a:spLocks noGrp="1"/>
          </p:cNvSpPr>
          <p:nvPr>
            <p:ph type="body" sz="quarter" idx="90" hasCustomPrompt="1"/>
          </p:nvPr>
        </p:nvSpPr>
        <p:spPr>
          <a:xfrm rot="16200000">
            <a:off x="8736481" y="1912706"/>
            <a:ext cx="21600" cy="792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bg2"/>
          </a:solidFill>
        </p:spPr>
        <p:txBody>
          <a:bodyPr wrap="square">
            <a:noAutofit/>
          </a:bodyPr>
          <a:lstStyle>
            <a:lvl1pPr marL="0" indent="0">
              <a:buNone/>
              <a:defRPr sz="100"/>
            </a:lvl1pPr>
          </a:lstStyle>
          <a:p>
            <a:pPr lvl="0"/>
            <a:r>
              <a:rPr lang="en-GB"/>
              <a:t> </a:t>
            </a:r>
          </a:p>
        </p:txBody>
      </p:sp>
    </p:spTree>
    <p:extLst>
      <p:ext uri="{BB962C8B-B14F-4D97-AF65-F5344CB8AC3E}">
        <p14:creationId xmlns:p14="http://schemas.microsoft.com/office/powerpoint/2010/main" val="25183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sp>
        <p:nvSpPr>
          <p:cNvPr id="35" name="Tijdelijke aanduiding voor afbeelding 13">
            <a:extLst>
              <a:ext uri="{FF2B5EF4-FFF2-40B4-BE49-F238E27FC236}">
                <a16:creationId xmlns:a16="http://schemas.microsoft.com/office/drawing/2014/main" id="{9C467D83-E70D-E39E-3202-45C0F4B7C8A5}"/>
              </a:ext>
            </a:extLst>
          </p:cNvPr>
          <p:cNvSpPr>
            <a:spLocks noGrp="1"/>
          </p:cNvSpPr>
          <p:nvPr>
            <p:ph type="pic" sz="quarter" idx="13" hasCustomPrompt="1"/>
          </p:nvPr>
        </p:nvSpPr>
        <p:spPr>
          <a:xfrm>
            <a:off x="193040" y="208280"/>
            <a:ext cx="11805920" cy="6441440"/>
          </a:xfrm>
          <a:custGeom>
            <a:avLst/>
            <a:gdLst>
              <a:gd name="connsiteX0" fmla="*/ 301459 w 11805920"/>
              <a:gd name="connsiteY0" fmla="*/ 0 h 6441440"/>
              <a:gd name="connsiteX1" fmla="*/ 11504461 w 11805920"/>
              <a:gd name="connsiteY1" fmla="*/ 0 h 6441440"/>
              <a:gd name="connsiteX2" fmla="*/ 11805920 w 11805920"/>
              <a:gd name="connsiteY2" fmla="*/ 301459 h 6441440"/>
              <a:gd name="connsiteX3" fmla="*/ 11805920 w 11805920"/>
              <a:gd name="connsiteY3" fmla="*/ 6139981 h 6441440"/>
              <a:gd name="connsiteX4" fmla="*/ 11504461 w 11805920"/>
              <a:gd name="connsiteY4" fmla="*/ 6441440 h 6441440"/>
              <a:gd name="connsiteX5" fmla="*/ 301459 w 11805920"/>
              <a:gd name="connsiteY5" fmla="*/ 6441440 h 6441440"/>
              <a:gd name="connsiteX6" fmla="*/ 0 w 11805920"/>
              <a:gd name="connsiteY6" fmla="*/ 6139981 h 6441440"/>
              <a:gd name="connsiteX7" fmla="*/ 0 w 11805920"/>
              <a:gd name="connsiteY7" fmla="*/ 301459 h 6441440"/>
              <a:gd name="connsiteX8" fmla="*/ 301459 w 11805920"/>
              <a:gd name="connsiteY8" fmla="*/ 0 h 6441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5920" h="6441440">
                <a:moveTo>
                  <a:pt x="301459" y="0"/>
                </a:moveTo>
                <a:lnTo>
                  <a:pt x="11504461" y="0"/>
                </a:lnTo>
                <a:cubicBezTo>
                  <a:pt x="11670952" y="0"/>
                  <a:pt x="11805920" y="134968"/>
                  <a:pt x="11805920" y="301459"/>
                </a:cubicBezTo>
                <a:lnTo>
                  <a:pt x="11805920" y="6139981"/>
                </a:lnTo>
                <a:cubicBezTo>
                  <a:pt x="11805920" y="6306472"/>
                  <a:pt x="11670952" y="6441440"/>
                  <a:pt x="11504461" y="6441440"/>
                </a:cubicBezTo>
                <a:lnTo>
                  <a:pt x="301459" y="6441440"/>
                </a:lnTo>
                <a:cubicBezTo>
                  <a:pt x="134968" y="6441440"/>
                  <a:pt x="0" y="6306472"/>
                  <a:pt x="0" y="6139981"/>
                </a:cubicBezTo>
                <a:lnTo>
                  <a:pt x="0" y="301459"/>
                </a:lnTo>
                <a:cubicBezTo>
                  <a:pt x="0" y="134968"/>
                  <a:pt x="134968" y="0"/>
                  <a:pt x="301459" y="0"/>
                </a:cubicBezTo>
                <a:close/>
              </a:path>
            </a:pathLst>
          </a:custGeom>
          <a:solidFill>
            <a:schemeClr val="bg1">
              <a:lumMod val="95000"/>
            </a:schemeClr>
          </a:solidFill>
        </p:spPr>
        <p:txBody>
          <a:bodyPr wrap="square" tIns="0" bIns="1080000" anchor="ctr" anchorCtr="0">
            <a:noAutofit/>
          </a:bodyPr>
          <a:lstStyle>
            <a:lvl1pPr marL="0" indent="0" algn="ctr">
              <a:buNone/>
              <a:defRPr sz="1200" i="1">
                <a:solidFill>
                  <a:schemeClr val="bg1">
                    <a:lumMod val="50000"/>
                  </a:schemeClr>
                </a:solidFill>
              </a:defRPr>
            </a:lvl1pPr>
          </a:lstStyle>
          <a:p>
            <a:r>
              <a:rPr lang="en-GB" noProof="0"/>
              <a:t>Select this placeholder, go to the tab ‘Slidebuilder’, click on ‘Images’, select the preferred image and click on ‘Insert’.</a:t>
            </a:r>
          </a:p>
        </p:txBody>
      </p:sp>
      <p:sp>
        <p:nvSpPr>
          <p:cNvPr id="32" name="Tijdelijke aanduiding voor titel 1">
            <a:extLst>
              <a:ext uri="{FF2B5EF4-FFF2-40B4-BE49-F238E27FC236}">
                <a16:creationId xmlns:a16="http://schemas.microsoft.com/office/drawing/2014/main" id="{A6B795BF-57C2-A3A8-E59F-B5742A8C8175}"/>
              </a:ext>
            </a:extLst>
          </p:cNvPr>
          <p:cNvSpPr>
            <a:spLocks noGrp="1"/>
          </p:cNvSpPr>
          <p:nvPr>
            <p:ph type="title" hasCustomPrompt="1"/>
          </p:nvPr>
        </p:nvSpPr>
        <p:spPr>
          <a:xfrm>
            <a:off x="0" y="-342024"/>
            <a:ext cx="1247248" cy="244800"/>
          </a:xfrm>
          <a:prstGeom prst="rect">
            <a:avLst/>
          </a:prstGeom>
        </p:spPr>
        <p:txBody>
          <a:bodyPr vert="horz" lIns="0" tIns="0" rIns="0" bIns="0" rtlCol="0" anchor="t">
            <a:noAutofit/>
          </a:bodyPr>
          <a:lstStyle>
            <a:lvl1pPr>
              <a:defRPr sz="1600">
                <a:solidFill>
                  <a:schemeClr val="accent1"/>
                </a:solidFill>
              </a:defRPr>
            </a:lvl1pPr>
          </a:lstStyle>
          <a:p>
            <a:r>
              <a:rPr lang="en-GB" noProof="0"/>
              <a:t>Closing slide</a:t>
            </a:r>
          </a:p>
        </p:txBody>
      </p:sp>
      <p:sp>
        <p:nvSpPr>
          <p:cNvPr id="3" name="Tijdelijke aanduiding voor voettekst 2">
            <a:extLst>
              <a:ext uri="{FF2B5EF4-FFF2-40B4-BE49-F238E27FC236}">
                <a16:creationId xmlns:a16="http://schemas.microsoft.com/office/drawing/2014/main" id="{66C846AB-3C86-0857-5AB2-EA84685F35F8}"/>
              </a:ext>
            </a:extLst>
          </p:cNvPr>
          <p:cNvSpPr>
            <a:spLocks noGrp="1"/>
          </p:cNvSpPr>
          <p:nvPr>
            <p:ph type="ftr" sz="quarter" idx="10"/>
          </p:nvPr>
        </p:nvSpPr>
        <p:spPr/>
        <p:txBody>
          <a:bodyPr/>
          <a:lstStyle/>
          <a:p>
            <a:r>
              <a:rPr lang="en-GB"/>
              <a:t>|  Published under cc-by licence</a:t>
            </a:r>
          </a:p>
        </p:txBody>
      </p:sp>
      <p:sp>
        <p:nvSpPr>
          <p:cNvPr id="4" name="Tijdelijke aanduiding voor dianummer 3">
            <a:extLst>
              <a:ext uri="{FF2B5EF4-FFF2-40B4-BE49-F238E27FC236}">
                <a16:creationId xmlns:a16="http://schemas.microsoft.com/office/drawing/2014/main" id="{F9099001-6957-40AB-CC4E-8A239A79F421}"/>
              </a:ext>
            </a:extLst>
          </p:cNvPr>
          <p:cNvSpPr>
            <a:spLocks noGrp="1"/>
          </p:cNvSpPr>
          <p:nvPr>
            <p:ph type="sldNum" sz="quarter" idx="11"/>
          </p:nvPr>
        </p:nvSpPr>
        <p:spPr/>
        <p:txBody>
          <a:bodyPr/>
          <a:lstStyle/>
          <a:p>
            <a:fld id="{D7B5DC5B-6873-43DB-ADC7-B15ACCE0DFDB}" type="slidenum">
              <a:rPr lang="en-GB" smtClean="0"/>
              <a:pPr/>
              <a:t>‹#›</a:t>
            </a:fld>
            <a:endParaRPr lang="en-GB"/>
          </a:p>
        </p:txBody>
      </p:sp>
      <p:sp>
        <p:nvSpPr>
          <p:cNvPr id="24" name="Tijdelijke aanduiding voor tekst 23">
            <a:extLst>
              <a:ext uri="{FF2B5EF4-FFF2-40B4-BE49-F238E27FC236}">
                <a16:creationId xmlns:a16="http://schemas.microsoft.com/office/drawing/2014/main" id="{263584D2-CEF1-B0B8-B165-B329A45D8CF1}"/>
              </a:ext>
            </a:extLst>
          </p:cNvPr>
          <p:cNvSpPr>
            <a:spLocks noGrp="1"/>
          </p:cNvSpPr>
          <p:nvPr>
            <p:ph type="body" sz="quarter" idx="41" hasCustomPrompt="1"/>
          </p:nvPr>
        </p:nvSpPr>
        <p:spPr>
          <a:xfrm>
            <a:off x="8070226" y="2675331"/>
            <a:ext cx="3402829" cy="3141400"/>
          </a:xfrm>
          <a:custGeom>
            <a:avLst/>
            <a:gdLst>
              <a:gd name="connsiteX0" fmla="*/ 163447 w 3402829"/>
              <a:gd name="connsiteY0" fmla="*/ 0 h 3141400"/>
              <a:gd name="connsiteX1" fmla="*/ 3239382 w 3402829"/>
              <a:gd name="connsiteY1" fmla="*/ 0 h 3141400"/>
              <a:gd name="connsiteX2" fmla="*/ 3402829 w 3402829"/>
              <a:gd name="connsiteY2" fmla="*/ 163447 h 3141400"/>
              <a:gd name="connsiteX3" fmla="*/ 3402829 w 3402829"/>
              <a:gd name="connsiteY3" fmla="*/ 2977953 h 3141400"/>
              <a:gd name="connsiteX4" fmla="*/ 3239382 w 3402829"/>
              <a:gd name="connsiteY4" fmla="*/ 3141400 h 3141400"/>
              <a:gd name="connsiteX5" fmla="*/ 163447 w 3402829"/>
              <a:gd name="connsiteY5" fmla="*/ 3141400 h 3141400"/>
              <a:gd name="connsiteX6" fmla="*/ 0 w 3402829"/>
              <a:gd name="connsiteY6" fmla="*/ 2977953 h 3141400"/>
              <a:gd name="connsiteX7" fmla="*/ 0 w 3402829"/>
              <a:gd name="connsiteY7" fmla="*/ 163447 h 3141400"/>
              <a:gd name="connsiteX8" fmla="*/ 163447 w 3402829"/>
              <a:gd name="connsiteY8" fmla="*/ 0 h 314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02829" h="3141400">
                <a:moveTo>
                  <a:pt x="163447" y="0"/>
                </a:moveTo>
                <a:lnTo>
                  <a:pt x="3239382" y="0"/>
                </a:lnTo>
                <a:cubicBezTo>
                  <a:pt x="3329651" y="0"/>
                  <a:pt x="3402829" y="73178"/>
                  <a:pt x="3402829" y="163447"/>
                </a:cubicBezTo>
                <a:lnTo>
                  <a:pt x="3402829" y="2977953"/>
                </a:lnTo>
                <a:cubicBezTo>
                  <a:pt x="3402829" y="3068222"/>
                  <a:pt x="3329651" y="3141400"/>
                  <a:pt x="3239382" y="3141400"/>
                </a:cubicBezTo>
                <a:lnTo>
                  <a:pt x="163447" y="3141400"/>
                </a:lnTo>
                <a:cubicBezTo>
                  <a:pt x="73178" y="3141400"/>
                  <a:pt x="0" y="3068222"/>
                  <a:pt x="0" y="2977953"/>
                </a:cubicBezTo>
                <a:lnTo>
                  <a:pt x="0" y="163447"/>
                </a:lnTo>
                <a:cubicBezTo>
                  <a:pt x="0" y="73178"/>
                  <a:pt x="73178" y="0"/>
                  <a:pt x="163447" y="0"/>
                </a:cubicBezTo>
                <a:close/>
              </a:path>
            </a:pathLst>
          </a:custGeom>
          <a:solidFill>
            <a:schemeClr val="accent2"/>
          </a:solidFill>
        </p:spPr>
        <p:txBody>
          <a:bodyPr wrap="square">
            <a:noAutofit/>
          </a:bodyPr>
          <a:lstStyle>
            <a:lvl1pPr>
              <a:defRPr sz="100"/>
            </a:lvl1pPr>
          </a:lstStyle>
          <a:p>
            <a:pPr lvl="0"/>
            <a:r>
              <a:rPr lang="en-GB"/>
              <a:t>  </a:t>
            </a:r>
          </a:p>
        </p:txBody>
      </p:sp>
      <p:sp>
        <p:nvSpPr>
          <p:cNvPr id="36" name="Tijdelijke aanduiding voor tekst 15">
            <a:extLst>
              <a:ext uri="{FF2B5EF4-FFF2-40B4-BE49-F238E27FC236}">
                <a16:creationId xmlns:a16="http://schemas.microsoft.com/office/drawing/2014/main" id="{789E3ED4-F9D7-1F3D-08A6-E8D80BEC99D0}"/>
              </a:ext>
            </a:extLst>
          </p:cNvPr>
          <p:cNvSpPr>
            <a:spLocks noGrp="1"/>
          </p:cNvSpPr>
          <p:nvPr>
            <p:ph type="body" sz="quarter" idx="14" hasCustomPrompt="1"/>
          </p:nvPr>
        </p:nvSpPr>
        <p:spPr>
          <a:xfrm>
            <a:off x="720000" y="6060536"/>
            <a:ext cx="932400" cy="475200"/>
          </a:xfrm>
          <a:blipFill>
            <a:blip r:embed="rId2"/>
            <a:stretch>
              <a:fillRect/>
            </a:stretch>
          </a:blipFill>
        </p:spPr>
        <p:txBody>
          <a:bodyPr/>
          <a:lstStyle>
            <a:lvl1pPr marL="0" indent="0">
              <a:buNone/>
              <a:defRPr sz="100"/>
            </a:lvl1pPr>
          </a:lstStyle>
          <a:p>
            <a:pPr lvl="0"/>
            <a:r>
              <a:rPr lang="en-GB"/>
              <a:t> </a:t>
            </a:r>
          </a:p>
        </p:txBody>
      </p:sp>
    </p:spTree>
    <p:extLst>
      <p:ext uri="{BB962C8B-B14F-4D97-AF65-F5344CB8AC3E}">
        <p14:creationId xmlns:p14="http://schemas.microsoft.com/office/powerpoint/2010/main" val="7769242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1">
    <p:spTree>
      <p:nvGrpSpPr>
        <p:cNvPr id="1" name=""/>
        <p:cNvGrpSpPr/>
        <p:nvPr/>
      </p:nvGrpSpPr>
      <p:grpSpPr>
        <a:xfrm>
          <a:off x="0" y="0"/>
          <a:ext cx="0" cy="0"/>
          <a:chOff x="0" y="0"/>
          <a:chExt cx="0" cy="0"/>
        </a:xfrm>
      </p:grpSpPr>
      <p:sp>
        <p:nvSpPr>
          <p:cNvPr id="7" name="Rechthoek: afgeronde hoeken 6">
            <a:extLst>
              <a:ext uri="{FF2B5EF4-FFF2-40B4-BE49-F238E27FC236}">
                <a16:creationId xmlns:a16="http://schemas.microsoft.com/office/drawing/2014/main" id="{EE82F239-2B35-4039-9A61-4FB8C953EA19}"/>
              </a:ext>
            </a:extLst>
          </p:cNvPr>
          <p:cNvSpPr/>
          <p:nvPr userDrawn="1"/>
        </p:nvSpPr>
        <p:spPr>
          <a:xfrm>
            <a:off x="0" y="-367937"/>
            <a:ext cx="1041952" cy="24622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en-GB" sz="1600" b="1" cap="none" baseline="0" noProof="0">
                <a:solidFill>
                  <a:schemeClr val="accent1"/>
                </a:solidFill>
                <a:latin typeface="+mj-lt"/>
              </a:rPr>
              <a:t>Title only #1</a:t>
            </a:r>
          </a:p>
        </p:txBody>
      </p:sp>
      <p:sp>
        <p:nvSpPr>
          <p:cNvPr id="5" name="Tijdelijke aanduiding voor tekst 15">
            <a:extLst>
              <a:ext uri="{FF2B5EF4-FFF2-40B4-BE49-F238E27FC236}">
                <a16:creationId xmlns:a16="http://schemas.microsoft.com/office/drawing/2014/main" id="{1573DD9B-8FD8-C1EC-787F-42558CEE97FA}"/>
              </a:ext>
            </a:extLst>
          </p:cNvPr>
          <p:cNvSpPr>
            <a:spLocks noGrp="1"/>
          </p:cNvSpPr>
          <p:nvPr>
            <p:ph type="body" sz="quarter" idx="14" hasCustomPrompt="1"/>
          </p:nvPr>
        </p:nvSpPr>
        <p:spPr>
          <a:xfrm>
            <a:off x="720000" y="6060536"/>
            <a:ext cx="932400" cy="475200"/>
          </a:xfrm>
          <a:blipFill>
            <a:blip r:embed="rId2"/>
            <a:stretch>
              <a:fillRect/>
            </a:stretch>
          </a:blipFill>
        </p:spPr>
        <p:txBody>
          <a:bodyPr/>
          <a:lstStyle>
            <a:lvl1pPr marL="0" indent="0">
              <a:buNone/>
              <a:defRPr sz="100"/>
            </a:lvl1pPr>
          </a:lstStyle>
          <a:p>
            <a:pPr lvl="0"/>
            <a:r>
              <a:rPr lang="en-GB"/>
              <a:t> </a:t>
            </a:r>
          </a:p>
        </p:txBody>
      </p:sp>
      <p:sp>
        <p:nvSpPr>
          <p:cNvPr id="8" name="Tijdelijke aanduiding voor tekst 12">
            <a:extLst>
              <a:ext uri="{FF2B5EF4-FFF2-40B4-BE49-F238E27FC236}">
                <a16:creationId xmlns:a16="http://schemas.microsoft.com/office/drawing/2014/main" id="{FBA7C0EF-C85B-4505-8107-015B15633D93}"/>
              </a:ext>
            </a:extLst>
          </p:cNvPr>
          <p:cNvSpPr>
            <a:spLocks noGrp="1"/>
          </p:cNvSpPr>
          <p:nvPr>
            <p:ph type="body" sz="quarter" idx="18" hasCustomPrompt="1"/>
          </p:nvPr>
        </p:nvSpPr>
        <p:spPr>
          <a:xfrm>
            <a:off x="708207" y="707795"/>
            <a:ext cx="36000" cy="396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buNone/>
              <a:defRPr sz="100"/>
            </a:lvl1pPr>
          </a:lstStyle>
          <a:p>
            <a:pPr lvl="0"/>
            <a:r>
              <a:rPr lang="en-GB"/>
              <a:t> </a:t>
            </a:r>
          </a:p>
        </p:txBody>
      </p:sp>
      <p:sp>
        <p:nvSpPr>
          <p:cNvPr id="10" name="Tijdelijke aanduiding voor titel 1">
            <a:extLst>
              <a:ext uri="{FF2B5EF4-FFF2-40B4-BE49-F238E27FC236}">
                <a16:creationId xmlns:a16="http://schemas.microsoft.com/office/drawing/2014/main" id="{66DDD4FA-5C0A-526B-A5D0-BD4D9C52DA68}"/>
              </a:ext>
            </a:extLst>
          </p:cNvPr>
          <p:cNvSpPr>
            <a:spLocks noGrp="1"/>
          </p:cNvSpPr>
          <p:nvPr>
            <p:ph type="title" hasCustomPrompt="1"/>
          </p:nvPr>
        </p:nvSpPr>
        <p:spPr>
          <a:xfrm>
            <a:off x="865163" y="722313"/>
            <a:ext cx="10606838" cy="342211"/>
          </a:xfrm>
          <a:prstGeom prst="rect">
            <a:avLst/>
          </a:prstGeom>
        </p:spPr>
        <p:txBody>
          <a:bodyPr vert="horz" lIns="0" tIns="0" rIns="0" bIns="0" rtlCol="0" anchor="t">
            <a:noAutofit/>
          </a:bodyPr>
          <a:lstStyle/>
          <a:p>
            <a:r>
              <a:rPr lang="en-GB" noProof="0"/>
              <a:t>Place the title of the slide here</a:t>
            </a:r>
          </a:p>
        </p:txBody>
      </p:sp>
    </p:spTree>
    <p:extLst>
      <p:ext uri="{BB962C8B-B14F-4D97-AF65-F5344CB8AC3E}">
        <p14:creationId xmlns:p14="http://schemas.microsoft.com/office/powerpoint/2010/main" val="2227768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el slide #2">
    <p:spTree>
      <p:nvGrpSpPr>
        <p:cNvPr id="1" name=""/>
        <p:cNvGrpSpPr/>
        <p:nvPr/>
      </p:nvGrpSpPr>
      <p:grpSpPr>
        <a:xfrm>
          <a:off x="0" y="0"/>
          <a:ext cx="0" cy="0"/>
          <a:chOff x="0" y="0"/>
          <a:chExt cx="0" cy="0"/>
        </a:xfrm>
      </p:grpSpPr>
      <p:sp>
        <p:nvSpPr>
          <p:cNvPr id="79" name="Tijdelijke aanduiding voor afbeelding 16">
            <a:extLst>
              <a:ext uri="{FF2B5EF4-FFF2-40B4-BE49-F238E27FC236}">
                <a16:creationId xmlns:a16="http://schemas.microsoft.com/office/drawing/2014/main" id="{B58464CF-AC46-0CF5-9A03-942DFB9749B7}"/>
              </a:ext>
            </a:extLst>
          </p:cNvPr>
          <p:cNvSpPr>
            <a:spLocks noGrp="1"/>
          </p:cNvSpPr>
          <p:nvPr>
            <p:ph type="pic" sz="quarter" idx="13" hasCustomPrompt="1"/>
          </p:nvPr>
        </p:nvSpPr>
        <p:spPr>
          <a:xfrm>
            <a:off x="0" y="2"/>
            <a:ext cx="12192001" cy="6857998"/>
          </a:xfrm>
          <a:solidFill>
            <a:schemeClr val="bg1">
              <a:lumMod val="95000"/>
            </a:schemeClr>
          </a:solidFill>
        </p:spPr>
        <p:txBody>
          <a:bodyPr tIns="0" bIns="1080000" anchor="ctr" anchorCtr="0"/>
          <a:lstStyle>
            <a:lvl1pPr marL="0" indent="0" algn="ctr">
              <a:buNone/>
              <a:defRPr sz="1200" i="1">
                <a:solidFill>
                  <a:schemeClr val="bg1">
                    <a:lumMod val="50000"/>
                  </a:schemeClr>
                </a:solidFill>
              </a:defRPr>
            </a:lvl1pPr>
          </a:lstStyle>
          <a:p>
            <a:r>
              <a:rPr lang="en-GB"/>
              <a:t>Select this placeholder, go to the tab ‘Slidebuilder’, click on ‘Images’, select the preferred image and click on ‘Insert’.</a:t>
            </a:r>
          </a:p>
        </p:txBody>
      </p:sp>
      <p:sp>
        <p:nvSpPr>
          <p:cNvPr id="22" name="Tijdelijke aanduiding voor tekst 4">
            <a:extLst>
              <a:ext uri="{FF2B5EF4-FFF2-40B4-BE49-F238E27FC236}">
                <a16:creationId xmlns:a16="http://schemas.microsoft.com/office/drawing/2014/main" id="{313D8101-AB39-30DC-EA7B-C4B0626D108A}"/>
              </a:ext>
            </a:extLst>
          </p:cNvPr>
          <p:cNvSpPr>
            <a:spLocks noGrp="1"/>
          </p:cNvSpPr>
          <p:nvPr>
            <p:ph type="body" sz="quarter" idx="10" hasCustomPrompt="1"/>
          </p:nvPr>
        </p:nvSpPr>
        <p:spPr>
          <a:xfrm>
            <a:off x="716262" y="722313"/>
            <a:ext cx="1594247" cy="812322"/>
          </a:xfrm>
          <a:custGeom>
            <a:avLst/>
            <a:gdLst>
              <a:gd name="connsiteX0" fmla="*/ 405202 w 4262138"/>
              <a:gd name="connsiteY0" fmla="*/ 0 h 2171700"/>
              <a:gd name="connsiteX1" fmla="*/ 2718550 w 4262138"/>
              <a:gd name="connsiteY1" fmla="*/ 0 h 2171700"/>
              <a:gd name="connsiteX2" fmla="*/ 3123745 w 4262138"/>
              <a:gd name="connsiteY2" fmla="*/ 405781 h 2171700"/>
              <a:gd name="connsiteX3" fmla="*/ 3123745 w 4262138"/>
              <a:gd name="connsiteY3" fmla="*/ 906766 h 2171700"/>
              <a:gd name="connsiteX4" fmla="*/ 3529526 w 4262138"/>
              <a:gd name="connsiteY4" fmla="*/ 1312540 h 2171700"/>
              <a:gd name="connsiteX5" fmla="*/ 3936465 w 4262138"/>
              <a:gd name="connsiteY5" fmla="*/ 1312540 h 2171700"/>
              <a:gd name="connsiteX6" fmla="*/ 4262138 w 4262138"/>
              <a:gd name="connsiteY6" fmla="*/ 1638213 h 2171700"/>
              <a:gd name="connsiteX7" fmla="*/ 4262138 w 4262138"/>
              <a:gd name="connsiteY7" fmla="*/ 1846034 h 2171700"/>
              <a:gd name="connsiteX8" fmla="*/ 3936465 w 4262138"/>
              <a:gd name="connsiteY8" fmla="*/ 2171700 h 2171700"/>
              <a:gd name="connsiteX9" fmla="*/ 3449997 w 4262138"/>
              <a:gd name="connsiteY9" fmla="*/ 2171700 h 2171700"/>
              <a:gd name="connsiteX10" fmla="*/ 3124330 w 4262138"/>
              <a:gd name="connsiteY10" fmla="*/ 1846034 h 2171700"/>
              <a:gd name="connsiteX11" fmla="*/ 3124330 w 4262138"/>
              <a:gd name="connsiteY11" fmla="*/ 1717742 h 2171700"/>
              <a:gd name="connsiteX12" fmla="*/ 2719129 w 4262138"/>
              <a:gd name="connsiteY12" fmla="*/ 1312540 h 2171700"/>
              <a:gd name="connsiteX13" fmla="*/ 405202 w 4262138"/>
              <a:gd name="connsiteY13" fmla="*/ 1312540 h 2171700"/>
              <a:gd name="connsiteX14" fmla="*/ 0 w 4262138"/>
              <a:gd name="connsiteY14" fmla="*/ 906766 h 2171700"/>
              <a:gd name="connsiteX15" fmla="*/ 0 w 4262138"/>
              <a:gd name="connsiteY15" fmla="*/ 405781 h 2171700"/>
              <a:gd name="connsiteX16" fmla="*/ 405202 w 4262138"/>
              <a:gd name="connsiteY16" fmla="*/ 0 h 217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62138" h="2171700">
                <a:moveTo>
                  <a:pt x="405202" y="0"/>
                </a:moveTo>
                <a:lnTo>
                  <a:pt x="2718550" y="0"/>
                </a:lnTo>
                <a:cubicBezTo>
                  <a:pt x="2942625" y="0"/>
                  <a:pt x="3123745" y="181699"/>
                  <a:pt x="3123745" y="405781"/>
                </a:cubicBezTo>
                <a:lnTo>
                  <a:pt x="3123745" y="906766"/>
                </a:lnTo>
                <a:cubicBezTo>
                  <a:pt x="3123745" y="1130841"/>
                  <a:pt x="3305451" y="1312540"/>
                  <a:pt x="3529526" y="1312540"/>
                </a:cubicBezTo>
                <a:lnTo>
                  <a:pt x="3936465" y="1312540"/>
                </a:lnTo>
                <a:cubicBezTo>
                  <a:pt x="4116428" y="1312540"/>
                  <a:pt x="4262138" y="1458250"/>
                  <a:pt x="4262138" y="1638213"/>
                </a:cubicBezTo>
                <a:lnTo>
                  <a:pt x="4262138" y="1846034"/>
                </a:lnTo>
                <a:cubicBezTo>
                  <a:pt x="4262138" y="2025996"/>
                  <a:pt x="4116428" y="2171700"/>
                  <a:pt x="3936465" y="2171700"/>
                </a:cubicBezTo>
                <a:lnTo>
                  <a:pt x="3449997" y="2171700"/>
                </a:lnTo>
                <a:cubicBezTo>
                  <a:pt x="3270035" y="2171700"/>
                  <a:pt x="3124330" y="2025996"/>
                  <a:pt x="3124330" y="1846034"/>
                </a:cubicBezTo>
                <a:lnTo>
                  <a:pt x="3124330" y="1717742"/>
                </a:lnTo>
                <a:cubicBezTo>
                  <a:pt x="3124330" y="1493660"/>
                  <a:pt x="2942625" y="1312540"/>
                  <a:pt x="2719129" y="1312540"/>
                </a:cubicBezTo>
                <a:lnTo>
                  <a:pt x="405202" y="1312540"/>
                </a:lnTo>
                <a:cubicBezTo>
                  <a:pt x="181121" y="1312540"/>
                  <a:pt x="0" y="1130841"/>
                  <a:pt x="0" y="906766"/>
                </a:cubicBezTo>
                <a:lnTo>
                  <a:pt x="0" y="405781"/>
                </a:lnTo>
                <a:cubicBezTo>
                  <a:pt x="0" y="181699"/>
                  <a:pt x="181700" y="0"/>
                  <a:pt x="405202" y="0"/>
                </a:cubicBezTo>
                <a:close/>
              </a:path>
            </a:pathLst>
          </a:custGeom>
          <a:solidFill>
            <a:schemeClr val="bg2"/>
          </a:solidFill>
        </p:spPr>
        <p:txBody>
          <a:bodyPr wrap="square">
            <a:noAutofit/>
          </a:bodyPr>
          <a:lstStyle>
            <a:lvl1pPr>
              <a:defRPr sz="100">
                <a:solidFill>
                  <a:schemeClr val="tx1">
                    <a:alpha val="0"/>
                  </a:schemeClr>
                </a:solidFill>
              </a:defRPr>
            </a:lvl1pPr>
          </a:lstStyle>
          <a:p>
            <a:pPr lvl="0"/>
            <a:r>
              <a:rPr lang="en-GB"/>
              <a:t> </a:t>
            </a:r>
          </a:p>
        </p:txBody>
      </p:sp>
      <p:sp>
        <p:nvSpPr>
          <p:cNvPr id="3" name="Ondertitel 2">
            <a:extLst>
              <a:ext uri="{FF2B5EF4-FFF2-40B4-BE49-F238E27FC236}">
                <a16:creationId xmlns:a16="http://schemas.microsoft.com/office/drawing/2014/main" id="{CEA18CD7-32A7-41E4-9DF7-7259FA2187F6}"/>
              </a:ext>
            </a:extLst>
          </p:cNvPr>
          <p:cNvSpPr>
            <a:spLocks noGrp="1"/>
          </p:cNvSpPr>
          <p:nvPr>
            <p:ph type="subTitle" idx="1" hasCustomPrompt="1"/>
          </p:nvPr>
        </p:nvSpPr>
        <p:spPr>
          <a:xfrm>
            <a:off x="718946" y="5710306"/>
            <a:ext cx="5136349" cy="395785"/>
          </a:xfrm>
        </p:spPr>
        <p:txBody>
          <a:bodyPr anchor="t"/>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Name of speaker here</a:t>
            </a:r>
          </a:p>
        </p:txBody>
      </p:sp>
      <p:sp>
        <p:nvSpPr>
          <p:cNvPr id="80" name="Tijdelijke aanduiding voor datum 3">
            <a:extLst>
              <a:ext uri="{FF2B5EF4-FFF2-40B4-BE49-F238E27FC236}">
                <a16:creationId xmlns:a16="http://schemas.microsoft.com/office/drawing/2014/main" id="{D410F314-1D67-A031-C451-797022B4925A}"/>
              </a:ext>
            </a:extLst>
          </p:cNvPr>
          <p:cNvSpPr>
            <a:spLocks noGrp="1"/>
          </p:cNvSpPr>
          <p:nvPr>
            <p:ph type="dt" sz="half" idx="2"/>
          </p:nvPr>
        </p:nvSpPr>
        <p:spPr>
          <a:xfrm>
            <a:off x="718946" y="6195358"/>
            <a:ext cx="2933400" cy="151790"/>
          </a:xfrm>
          <a:prstGeom prst="rect">
            <a:avLst/>
          </a:prstGeom>
        </p:spPr>
        <p:txBody>
          <a:bodyPr vert="horz" lIns="0" tIns="0" rIns="0" bIns="0" rtlCol="0" anchor="ctr">
            <a:noAutofit/>
          </a:bodyPr>
          <a:lstStyle>
            <a:lvl1pPr algn="l">
              <a:defRPr sz="1600">
                <a:solidFill>
                  <a:schemeClr val="bg1"/>
                </a:solidFill>
              </a:defRPr>
            </a:lvl1pPr>
          </a:lstStyle>
          <a:p>
            <a:fld id="{CF97DA82-84C5-4972-A41D-D2D51EA09891}" type="datetime3">
              <a:rPr lang="en-GB" smtClean="0"/>
              <a:pPr/>
              <a:t>3 June, 2025</a:t>
            </a:fld>
            <a:endParaRPr lang="en-GB"/>
          </a:p>
        </p:txBody>
      </p:sp>
      <p:sp>
        <p:nvSpPr>
          <p:cNvPr id="9" name="Tijdelijke aanduiding voor tekst 8">
            <a:extLst>
              <a:ext uri="{FF2B5EF4-FFF2-40B4-BE49-F238E27FC236}">
                <a16:creationId xmlns:a16="http://schemas.microsoft.com/office/drawing/2014/main" id="{4FD4B358-1033-FC99-149E-62875FBFF322}"/>
              </a:ext>
            </a:extLst>
          </p:cNvPr>
          <p:cNvSpPr>
            <a:spLocks noGrp="1"/>
          </p:cNvSpPr>
          <p:nvPr>
            <p:ph type="body" sz="quarter" idx="19" hasCustomPrompt="1"/>
          </p:nvPr>
        </p:nvSpPr>
        <p:spPr>
          <a:xfrm>
            <a:off x="721632" y="3438798"/>
            <a:ext cx="5133663" cy="2117352"/>
          </a:xfrm>
        </p:spPr>
        <p:txBody>
          <a:bodyPr anchor="b"/>
          <a:lstStyle>
            <a:lvl1pPr marL="0" indent="0">
              <a:buNone/>
              <a:defRPr sz="5000" b="1">
                <a:solidFill>
                  <a:schemeClr val="bg1"/>
                </a:solidFill>
                <a:latin typeface="+mj-lt"/>
              </a:defRPr>
            </a:lvl1pPr>
          </a:lstStyle>
          <a:p>
            <a:pPr lvl="0"/>
            <a:r>
              <a:rPr lang="en-US"/>
              <a:t>The title of the presentation can be placed here</a:t>
            </a:r>
          </a:p>
        </p:txBody>
      </p:sp>
      <p:grpSp>
        <p:nvGrpSpPr>
          <p:cNvPr id="2" name="INSTRUCTION">
            <a:extLst>
              <a:ext uri="{FF2B5EF4-FFF2-40B4-BE49-F238E27FC236}">
                <a16:creationId xmlns:a16="http://schemas.microsoft.com/office/drawing/2014/main" id="{FE71E19F-1329-1D7E-89D0-7CA6DDAE8386}"/>
              </a:ext>
            </a:extLst>
          </p:cNvPr>
          <p:cNvGrpSpPr/>
          <p:nvPr userDrawn="1"/>
        </p:nvGrpSpPr>
        <p:grpSpPr>
          <a:xfrm>
            <a:off x="12377595" y="0"/>
            <a:ext cx="3693114" cy="6236923"/>
            <a:chOff x="-3786165" y="0"/>
            <a:chExt cx="3693114" cy="6236923"/>
          </a:xfrm>
        </p:grpSpPr>
        <p:sp>
          <p:nvSpPr>
            <p:cNvPr id="4" name="Rechthoek 3">
              <a:extLst>
                <a:ext uri="{FF2B5EF4-FFF2-40B4-BE49-F238E27FC236}">
                  <a16:creationId xmlns:a16="http://schemas.microsoft.com/office/drawing/2014/main" id="{9419A459-16B4-F3A1-1812-6D6F3027E4FB}"/>
                </a:ext>
              </a:extLst>
            </p:cNvPr>
            <p:cNvSpPr/>
            <p:nvPr userDrawn="1"/>
          </p:nvSpPr>
          <p:spPr>
            <a:xfrm>
              <a:off x="-3786165" y="0"/>
              <a:ext cx="3593091" cy="5570621"/>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accent1"/>
                  </a:solidFill>
                  <a:latin typeface="+mn-lt"/>
                  <a:cs typeface="+mn-cs"/>
                </a:rPr>
                <a:t>Insert/edit an image</a:t>
              </a:r>
            </a:p>
          </p:txBody>
        </p:sp>
        <p:sp>
          <p:nvSpPr>
            <p:cNvPr id="6" name="Ovaal 5">
              <a:extLst>
                <a:ext uri="{FF2B5EF4-FFF2-40B4-BE49-F238E27FC236}">
                  <a16:creationId xmlns:a16="http://schemas.microsoft.com/office/drawing/2014/main" id="{3FB33F2E-9233-455E-DCA4-41ECD4EB3659}"/>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mn-lt"/>
                  <a:cs typeface="+mn-cs"/>
                </a:rPr>
                <a:t>1</a:t>
              </a:r>
            </a:p>
          </p:txBody>
        </p:sp>
        <p:sp>
          <p:nvSpPr>
            <p:cNvPr id="7" name="Rechthoek 6">
              <a:extLst>
                <a:ext uri="{FF2B5EF4-FFF2-40B4-BE49-F238E27FC236}">
                  <a16:creationId xmlns:a16="http://schemas.microsoft.com/office/drawing/2014/main" id="{A453D01F-FE91-0C82-5B4F-B05244C35E1F}"/>
                </a:ext>
              </a:extLst>
            </p:cNvPr>
            <p:cNvSpPr/>
            <p:nvPr userDrawn="1"/>
          </p:nvSpPr>
          <p:spPr>
            <a:xfrm>
              <a:off x="-3319415" y="465324"/>
              <a:ext cx="2962706"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mn-lt"/>
                  <a:cs typeface="+mn-cs"/>
                </a:rPr>
                <a:t>If necessary, delete the existing image</a:t>
              </a:r>
              <a:br>
                <a:rPr kumimoji="0" lang="en-GB" sz="1200" b="0" i="0" u="none" strike="noStrike" kern="0" cap="none" spc="0" normalizeH="0" baseline="0" noProof="0">
                  <a:ln>
                    <a:noFill/>
                  </a:ln>
                  <a:solidFill>
                    <a:srgbClr val="000000"/>
                  </a:solidFill>
                  <a:effectLst/>
                  <a:uLnTx/>
                  <a:uFillTx/>
                  <a:latin typeface="+mn-lt"/>
                  <a:cs typeface="+mn-cs"/>
                </a:rPr>
              </a:br>
              <a:r>
                <a:rPr kumimoji="0" lang="en-GB" sz="1200" b="0" i="0" u="none" strike="noStrike" kern="0" cap="none" spc="0" normalizeH="0" baseline="0" noProof="0">
                  <a:ln>
                    <a:noFill/>
                  </a:ln>
                  <a:solidFill>
                    <a:srgbClr val="000000"/>
                  </a:solidFill>
                  <a:effectLst/>
                  <a:uLnTx/>
                  <a:uFillTx/>
                  <a:latin typeface="+mn-lt"/>
                  <a:cs typeface="+mn-cs"/>
                </a:rPr>
                <a:t>by using the </a:t>
              </a:r>
              <a:r>
                <a:rPr kumimoji="0" lang="en-GB" sz="1200" b="1" i="0" u="none" strike="noStrike" kern="0" cap="none" spc="0" normalizeH="0" baseline="0" noProof="0">
                  <a:ln>
                    <a:noFill/>
                  </a:ln>
                  <a:solidFill>
                    <a:srgbClr val="000000"/>
                  </a:solidFill>
                  <a:effectLst/>
                  <a:uLnTx/>
                  <a:uFillTx/>
                  <a:latin typeface="+mn-lt"/>
                  <a:cs typeface="+mn-cs"/>
                </a:rPr>
                <a:t>‘Backspace key’</a:t>
              </a:r>
              <a:r>
                <a:rPr kumimoji="0" lang="en-GB" sz="1200" b="0" i="0" u="none" strike="noStrike" kern="0" cap="none" spc="0" normalizeH="0" baseline="0" noProof="0">
                  <a:ln>
                    <a:noFill/>
                  </a:ln>
                  <a:solidFill>
                    <a:srgbClr val="000000"/>
                  </a:solidFill>
                  <a:effectLst/>
                  <a:uLnTx/>
                  <a:uFillTx/>
                  <a:latin typeface="+mn-lt"/>
                  <a:cs typeface="+mn-cs"/>
                </a:rPr>
                <a:t>. Select the placeholder, go to the tab </a:t>
              </a:r>
              <a:r>
                <a:rPr kumimoji="0" lang="en-GB" sz="1200" b="1" i="0" u="none" strike="noStrike" kern="0" cap="none" spc="0" normalizeH="0" baseline="0" noProof="0">
                  <a:ln>
                    <a:noFill/>
                  </a:ln>
                  <a:solidFill>
                    <a:srgbClr val="000000"/>
                  </a:solidFill>
                  <a:effectLst/>
                  <a:uLnTx/>
                  <a:uFillTx/>
                  <a:latin typeface="+mn-lt"/>
                  <a:ea typeface="+mn-ea"/>
                  <a:cs typeface="+mn-cs"/>
                </a:rPr>
                <a:t>‘Slidebuilder’</a:t>
              </a:r>
              <a:r>
                <a:rPr kumimoji="0" lang="en-GB" sz="1200" b="0" i="0" u="none" strike="noStrike" kern="0" cap="none" spc="0" normalizeH="0" baseline="0" noProof="0">
                  <a:ln>
                    <a:noFill/>
                  </a:ln>
                  <a:solidFill>
                    <a:srgbClr val="000000"/>
                  </a:solidFill>
                  <a:effectLst/>
                  <a:uLnTx/>
                  <a:uFillTx/>
                  <a:latin typeface="+mn-lt"/>
                  <a:cs typeface="+mn-cs"/>
                </a:rPr>
                <a:t> and click on the button </a:t>
              </a:r>
              <a:r>
                <a:rPr kumimoji="0" lang="en-GB" sz="1200" b="1" i="0" u="none" strike="noStrike" kern="0" cap="none" spc="0" normalizeH="0" baseline="0" noProof="0">
                  <a:ln>
                    <a:noFill/>
                  </a:ln>
                  <a:solidFill>
                    <a:srgbClr val="000000"/>
                  </a:solidFill>
                  <a:effectLst/>
                  <a:uLnTx/>
                  <a:uFillTx/>
                  <a:latin typeface="+mn-lt"/>
                  <a:ea typeface="+mn-ea"/>
                  <a:cs typeface="+mn-cs"/>
                </a:rPr>
                <a:t>‘Images’</a:t>
              </a:r>
              <a:r>
                <a:rPr kumimoji="0" lang="en-GB" sz="1200" b="0" i="0" u="none" strike="noStrike" kern="0" cap="none" spc="0" normalizeH="0" baseline="0" noProof="0">
                  <a:ln>
                    <a:noFill/>
                  </a:ln>
                  <a:solidFill>
                    <a:srgbClr val="000000"/>
                  </a:solidFill>
                  <a:effectLst/>
                  <a:uLnTx/>
                  <a:uFillTx/>
                  <a:latin typeface="+mn-lt"/>
                  <a:ea typeface="+mn-ea"/>
                  <a:cs typeface="+mn-cs"/>
                </a:rPr>
                <a:t>.</a:t>
              </a:r>
              <a:endParaRPr kumimoji="0" lang="en-GB" sz="1200" b="0" i="0" u="none" strike="noStrike" kern="0" cap="none" spc="0" normalizeH="0" baseline="0" noProof="0">
                <a:ln>
                  <a:noFill/>
                </a:ln>
                <a:solidFill>
                  <a:srgbClr val="000000"/>
                </a:solidFill>
                <a:effectLst/>
                <a:uLnTx/>
                <a:uFillTx/>
                <a:latin typeface="+mn-lt"/>
                <a:cs typeface="+mn-cs"/>
              </a:endParaRPr>
            </a:p>
          </p:txBody>
        </p:sp>
        <p:sp>
          <p:nvSpPr>
            <p:cNvPr id="8" name="Ovaal 7">
              <a:extLst>
                <a:ext uri="{FF2B5EF4-FFF2-40B4-BE49-F238E27FC236}">
                  <a16:creationId xmlns:a16="http://schemas.microsoft.com/office/drawing/2014/main" id="{BE3914D8-ACB5-3D9D-A737-F90215C78958}"/>
                </a:ext>
              </a:extLst>
            </p:cNvPr>
            <p:cNvSpPr/>
            <p:nvPr userDrawn="1"/>
          </p:nvSpPr>
          <p:spPr>
            <a:xfrm>
              <a:off x="-3603587" y="26388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mn-lt"/>
                  <a:cs typeface="+mn-cs"/>
                </a:rPr>
                <a:t>3</a:t>
              </a:r>
            </a:p>
          </p:txBody>
        </p:sp>
        <p:sp>
          <p:nvSpPr>
            <p:cNvPr id="10" name="Rechthoek 9">
              <a:extLst>
                <a:ext uri="{FF2B5EF4-FFF2-40B4-BE49-F238E27FC236}">
                  <a16:creationId xmlns:a16="http://schemas.microsoft.com/office/drawing/2014/main" id="{94DC1FC6-3295-4317-B48D-82F718AE59F3}"/>
                </a:ext>
              </a:extLst>
            </p:cNvPr>
            <p:cNvSpPr/>
            <p:nvPr userDrawn="1"/>
          </p:nvSpPr>
          <p:spPr>
            <a:xfrm>
              <a:off x="-3319415" y="2638809"/>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mn-lt"/>
                  <a:cs typeface="+mn-cs"/>
                </a:rPr>
                <a:t>Click with the right mouse button on the image and choose </a:t>
              </a:r>
              <a:r>
                <a:rPr kumimoji="0" lang="en-GB" sz="1200" b="1" i="0" u="none" strike="noStrike" kern="0" cap="none" spc="0" normalizeH="0" baseline="0" noProof="0">
                  <a:ln>
                    <a:noFill/>
                  </a:ln>
                  <a:solidFill>
                    <a:srgbClr val="000000"/>
                  </a:solidFill>
                  <a:effectLst/>
                  <a:uLnTx/>
                  <a:uFillTx/>
                  <a:latin typeface="+mn-lt"/>
                  <a:cs typeface="+mn-cs"/>
                </a:rPr>
                <a:t>‘Send to back’</a:t>
              </a:r>
              <a:r>
                <a:rPr kumimoji="0" lang="en-GB" sz="1200" b="0" i="0" u="none" strike="noStrike" kern="0" cap="none" spc="0" normalizeH="0" baseline="0" noProof="0">
                  <a:ln>
                    <a:noFill/>
                  </a:ln>
                  <a:solidFill>
                    <a:srgbClr val="000000"/>
                  </a:solidFill>
                  <a:effectLst/>
                  <a:uLnTx/>
                  <a:uFillTx/>
                  <a:latin typeface="+mn-lt"/>
                  <a:cs typeface="+mn-cs"/>
                </a:rPr>
                <a:t>.</a:t>
              </a:r>
            </a:p>
          </p:txBody>
        </p:sp>
        <p:sp>
          <p:nvSpPr>
            <p:cNvPr id="11" name="Ovaal 10">
              <a:extLst>
                <a:ext uri="{FF2B5EF4-FFF2-40B4-BE49-F238E27FC236}">
                  <a16:creationId xmlns:a16="http://schemas.microsoft.com/office/drawing/2014/main" id="{3C75FD7A-52AF-9896-1B70-6DC68BF53F5C}"/>
                </a:ext>
              </a:extLst>
            </p:cNvPr>
            <p:cNvSpPr/>
            <p:nvPr userDrawn="1"/>
          </p:nvSpPr>
          <p:spPr>
            <a:xfrm>
              <a:off x="-3603587" y="3817066"/>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mn-lt"/>
                  <a:cs typeface="+mn-cs"/>
                </a:rPr>
                <a:t>4</a:t>
              </a:r>
            </a:p>
          </p:txBody>
        </p:sp>
        <p:sp>
          <p:nvSpPr>
            <p:cNvPr id="12" name="Rechthoek 11">
              <a:extLst>
                <a:ext uri="{FF2B5EF4-FFF2-40B4-BE49-F238E27FC236}">
                  <a16:creationId xmlns:a16="http://schemas.microsoft.com/office/drawing/2014/main" id="{20D9BF01-F1B2-A784-F32F-FE486965E537}"/>
                </a:ext>
              </a:extLst>
            </p:cNvPr>
            <p:cNvSpPr/>
            <p:nvPr userDrawn="1"/>
          </p:nvSpPr>
          <p:spPr>
            <a:xfrm>
              <a:off x="-3319415" y="3817067"/>
              <a:ext cx="2944086"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mn-lt"/>
                  <a:cs typeface="+mn-cs"/>
                </a:rPr>
                <a:t>To scale or drag the image, go to the tab </a:t>
              </a:r>
              <a:r>
                <a:rPr kumimoji="0" lang="en-GB" sz="1200" b="1" i="0" u="none" strike="noStrike" kern="0" cap="none" spc="0" normalizeH="0" baseline="0" noProof="0">
                  <a:ln>
                    <a:noFill/>
                  </a:ln>
                  <a:solidFill>
                    <a:srgbClr val="000000"/>
                  </a:solidFill>
                  <a:effectLst/>
                  <a:uLnTx/>
                  <a:uFillTx/>
                  <a:latin typeface="+mn-lt"/>
                  <a:cs typeface="+mn-cs"/>
                </a:rPr>
                <a:t>‘Picture Tools - Format’</a:t>
              </a:r>
              <a:r>
                <a:rPr kumimoji="0" lang="en-GB" sz="1200" b="0" i="0" u="none" strike="noStrike" kern="0" cap="none" spc="0" normalizeH="0" baseline="0" noProof="0">
                  <a:ln>
                    <a:noFill/>
                  </a:ln>
                  <a:solidFill>
                    <a:srgbClr val="000000"/>
                  </a:solidFill>
                  <a:effectLst/>
                  <a:uLnTx/>
                  <a:uFillTx/>
                  <a:latin typeface="+mn-lt"/>
                  <a:cs typeface="+mn-cs"/>
                </a:rPr>
                <a:t> and click on</a:t>
              </a:r>
              <a:br>
                <a:rPr kumimoji="0" lang="en-GB" sz="1200" b="0" i="0" u="none" strike="noStrike" kern="0" cap="none" spc="0" normalizeH="0" baseline="0" noProof="0">
                  <a:ln>
                    <a:noFill/>
                  </a:ln>
                  <a:solidFill>
                    <a:srgbClr val="000000"/>
                  </a:solidFill>
                  <a:effectLst/>
                  <a:uLnTx/>
                  <a:uFillTx/>
                  <a:latin typeface="+mn-lt"/>
                  <a:cs typeface="+mn-cs"/>
                </a:rPr>
              </a:br>
              <a:r>
                <a:rPr kumimoji="0" lang="en-GB" sz="1200" b="0" i="0" u="none" strike="noStrike" kern="0" cap="none" spc="0" normalizeH="0" baseline="0" noProof="0">
                  <a:ln>
                    <a:noFill/>
                  </a:ln>
                  <a:solidFill>
                    <a:srgbClr val="000000"/>
                  </a:solidFill>
                  <a:effectLst/>
                  <a:uLnTx/>
                  <a:uFillTx/>
                  <a:latin typeface="+mn-lt"/>
                  <a:cs typeface="+mn-cs"/>
                </a:rPr>
                <a:t>the button </a:t>
              </a:r>
              <a:r>
                <a:rPr kumimoji="0" lang="en-GB" sz="1200" b="1" i="0" u="none" strike="noStrike" kern="0" cap="none" spc="0" normalizeH="0" baseline="0" noProof="0">
                  <a:ln>
                    <a:noFill/>
                  </a:ln>
                  <a:solidFill>
                    <a:srgbClr val="000000"/>
                  </a:solidFill>
                  <a:effectLst/>
                  <a:uLnTx/>
                  <a:uFillTx/>
                  <a:latin typeface="+mn-lt"/>
                  <a:cs typeface="+mn-cs"/>
                </a:rPr>
                <a:t>‘Crop’</a:t>
              </a:r>
              <a:r>
                <a:rPr kumimoji="0" lang="en-GB" sz="1200" b="0" i="0" u="none" strike="noStrike" kern="0" cap="none" spc="0" normalizeH="0" baseline="0" noProof="0">
                  <a:ln>
                    <a:noFill/>
                  </a:ln>
                  <a:solidFill>
                    <a:srgbClr val="000000"/>
                  </a:solidFill>
                  <a:effectLst/>
                  <a:uLnTx/>
                  <a:uFillTx/>
                  <a:latin typeface="+mn-lt"/>
                  <a:cs typeface="+mn-cs"/>
                </a:rPr>
                <a:t>. Scale the image itself with</a:t>
              </a:r>
              <a:br>
                <a:rPr kumimoji="0" lang="en-GB" sz="1200" b="0" i="0" u="none" strike="noStrike" kern="0" cap="none" spc="0" normalizeH="0" baseline="0" noProof="0">
                  <a:ln>
                    <a:noFill/>
                  </a:ln>
                  <a:solidFill>
                    <a:srgbClr val="000000"/>
                  </a:solidFill>
                  <a:effectLst/>
                  <a:uLnTx/>
                  <a:uFillTx/>
                  <a:latin typeface="+mn-lt"/>
                  <a:cs typeface="+mn-cs"/>
                </a:rPr>
              </a:br>
              <a:r>
                <a:rPr kumimoji="0" lang="en-GB" sz="1200" b="0" i="0" u="none" strike="noStrike" kern="0" cap="none" spc="0" normalizeH="0" baseline="0" noProof="0">
                  <a:ln>
                    <a:noFill/>
                  </a:ln>
                  <a:solidFill>
                    <a:srgbClr val="000000"/>
                  </a:solidFill>
                  <a:effectLst/>
                  <a:uLnTx/>
                  <a:uFillTx/>
                  <a:latin typeface="+mn-lt"/>
                  <a:cs typeface="+mn-cs"/>
                </a:rPr>
                <a:t>the spheres and scale the image frame with the brackets.</a:t>
              </a:r>
            </a:p>
          </p:txBody>
        </p:sp>
        <p:grpSp>
          <p:nvGrpSpPr>
            <p:cNvPr id="13" name="Groep 12">
              <a:extLst>
                <a:ext uri="{FF2B5EF4-FFF2-40B4-BE49-F238E27FC236}">
                  <a16:creationId xmlns:a16="http://schemas.microsoft.com/office/drawing/2014/main" id="{D87D05D0-C766-A746-39B3-BC24984809CF}"/>
                </a:ext>
              </a:extLst>
            </p:cNvPr>
            <p:cNvGrpSpPr/>
            <p:nvPr userDrawn="1"/>
          </p:nvGrpSpPr>
          <p:grpSpPr>
            <a:xfrm>
              <a:off x="-3314821" y="3054865"/>
              <a:ext cx="1558053" cy="563933"/>
              <a:chOff x="-3314821" y="2981448"/>
              <a:chExt cx="1558053" cy="563933"/>
            </a:xfrm>
          </p:grpSpPr>
          <p:sp>
            <p:nvSpPr>
              <p:cNvPr id="114" name="Rechthoek 113">
                <a:extLst>
                  <a:ext uri="{FF2B5EF4-FFF2-40B4-BE49-F238E27FC236}">
                    <a16:creationId xmlns:a16="http://schemas.microsoft.com/office/drawing/2014/main" id="{7F01CC9B-7EE7-407D-F7B9-1EC7C4F8D1B0}"/>
                  </a:ext>
                </a:extLst>
              </p:cNvPr>
              <p:cNvSpPr/>
              <p:nvPr userDrawn="1"/>
            </p:nvSpPr>
            <p:spPr>
              <a:xfrm>
                <a:off x="-3314821" y="2981448"/>
                <a:ext cx="1558053"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a:solidFill>
                    <a:srgbClr val="211F26"/>
                  </a:solidFill>
                  <a:latin typeface="+mn-lt"/>
                  <a:cs typeface="+mn-cs"/>
                </a:endParaRPr>
              </a:p>
            </p:txBody>
          </p:sp>
          <p:sp>
            <p:nvSpPr>
              <p:cNvPr id="115" name="Rechthoek 114">
                <a:extLst>
                  <a:ext uri="{FF2B5EF4-FFF2-40B4-BE49-F238E27FC236}">
                    <a16:creationId xmlns:a16="http://schemas.microsoft.com/office/drawing/2014/main" id="{474E71C4-7793-9D0C-7B65-E2DC20CAD4EA}"/>
                  </a:ext>
                </a:extLst>
              </p:cNvPr>
              <p:cNvSpPr/>
              <p:nvPr userDrawn="1"/>
            </p:nvSpPr>
            <p:spPr>
              <a:xfrm>
                <a:off x="-3304719" y="3235173"/>
                <a:ext cx="15403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mn-lt"/>
                  <a:cs typeface="+mn-cs"/>
                </a:endParaRPr>
              </a:p>
            </p:txBody>
          </p:sp>
          <p:sp>
            <p:nvSpPr>
              <p:cNvPr id="116" name="Tekstvak 115">
                <a:extLst>
                  <a:ext uri="{FF2B5EF4-FFF2-40B4-BE49-F238E27FC236}">
                    <a16:creationId xmlns:a16="http://schemas.microsoft.com/office/drawing/2014/main" id="{2DC0FA74-898E-AE36-B48D-C837524F8A55}"/>
                  </a:ext>
                </a:extLst>
              </p:cNvPr>
              <p:cNvSpPr txBox="1"/>
              <p:nvPr userDrawn="1"/>
            </p:nvSpPr>
            <p:spPr>
              <a:xfrm>
                <a:off x="-3069820" y="3038892"/>
                <a:ext cx="1089248"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mn-lt"/>
                    <a:ea typeface="+mn-ea"/>
                    <a:cs typeface="+mn-cs"/>
                  </a:rPr>
                  <a:t>Send to front</a:t>
                </a:r>
              </a:p>
            </p:txBody>
          </p:sp>
          <p:sp>
            <p:nvSpPr>
              <p:cNvPr id="117" name="Tekstvak 116">
                <a:extLst>
                  <a:ext uri="{FF2B5EF4-FFF2-40B4-BE49-F238E27FC236}">
                    <a16:creationId xmlns:a16="http://schemas.microsoft.com/office/drawing/2014/main" id="{3983056E-6B09-D4BB-4A4B-F347FE6A047B}"/>
                  </a:ext>
                </a:extLst>
              </p:cNvPr>
              <p:cNvSpPr txBox="1"/>
              <p:nvPr userDrawn="1"/>
            </p:nvSpPr>
            <p:spPr>
              <a:xfrm>
                <a:off x="-3069820" y="3295269"/>
                <a:ext cx="109851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a:solidFill>
                      <a:srgbClr val="211F26"/>
                    </a:solidFill>
                    <a:latin typeface="+mn-lt"/>
                    <a:ea typeface="+mn-ea"/>
                    <a:cs typeface="+mn-cs"/>
                  </a:rPr>
                  <a:t>Send to back</a:t>
                </a:r>
              </a:p>
            </p:txBody>
          </p:sp>
          <p:sp>
            <p:nvSpPr>
              <p:cNvPr id="118" name="Vrije vorm: vorm 117">
                <a:extLst>
                  <a:ext uri="{FF2B5EF4-FFF2-40B4-BE49-F238E27FC236}">
                    <a16:creationId xmlns:a16="http://schemas.microsoft.com/office/drawing/2014/main" id="{CCC7CAA9-CF92-6C18-1FBF-9FFF651E27F7}"/>
                  </a:ext>
                </a:extLst>
              </p:cNvPr>
              <p:cNvSpPr/>
              <p:nvPr userDrawn="1"/>
            </p:nvSpPr>
            <p:spPr>
              <a:xfrm>
                <a:off x="-2051274" y="3365381"/>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mn-lt"/>
                  <a:cs typeface="+mn-cs"/>
                </a:endParaRPr>
              </a:p>
            </p:txBody>
          </p:sp>
          <p:sp>
            <p:nvSpPr>
              <p:cNvPr id="119" name="Gelijkbenige driehoek 118">
                <a:extLst>
                  <a:ext uri="{FF2B5EF4-FFF2-40B4-BE49-F238E27FC236}">
                    <a16:creationId xmlns:a16="http://schemas.microsoft.com/office/drawing/2014/main" id="{DBE8AD7F-50D5-3D3D-A0D7-8ABB446E2C59}"/>
                  </a:ext>
                </a:extLst>
              </p:cNvPr>
              <p:cNvSpPr/>
              <p:nvPr userDrawn="1"/>
            </p:nvSpPr>
            <p:spPr>
              <a:xfrm rot="5400000">
                <a:off x="-1900674" y="3332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mn-lt"/>
                  <a:cs typeface="+mn-cs"/>
                </a:endParaRPr>
              </a:p>
            </p:txBody>
          </p:sp>
          <p:grpSp>
            <p:nvGrpSpPr>
              <p:cNvPr id="120" name="Groep 119">
                <a:extLst>
                  <a:ext uri="{FF2B5EF4-FFF2-40B4-BE49-F238E27FC236}">
                    <a16:creationId xmlns:a16="http://schemas.microsoft.com/office/drawing/2014/main" id="{3E564480-2403-0547-507F-AD5F0EAF8E20}"/>
                  </a:ext>
                </a:extLst>
              </p:cNvPr>
              <p:cNvGrpSpPr/>
              <p:nvPr userDrawn="1"/>
            </p:nvGrpSpPr>
            <p:grpSpPr>
              <a:xfrm>
                <a:off x="-3257052" y="3032066"/>
                <a:ext cx="182309" cy="163794"/>
                <a:chOff x="12832541" y="3162395"/>
                <a:chExt cx="219532" cy="197236"/>
              </a:xfrm>
            </p:grpSpPr>
            <p:sp>
              <p:nvSpPr>
                <p:cNvPr id="125" name="Rechthoek 124">
                  <a:extLst>
                    <a:ext uri="{FF2B5EF4-FFF2-40B4-BE49-F238E27FC236}">
                      <a16:creationId xmlns:a16="http://schemas.microsoft.com/office/drawing/2014/main" id="{93EFB815-0485-9D8C-796E-C80B190AB5FD}"/>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mn-lt"/>
                    <a:cs typeface="+mn-cs"/>
                  </a:endParaRPr>
                </a:p>
              </p:txBody>
            </p:sp>
            <p:sp>
              <p:nvSpPr>
                <p:cNvPr id="126" name="Rechthoek 125">
                  <a:extLst>
                    <a:ext uri="{FF2B5EF4-FFF2-40B4-BE49-F238E27FC236}">
                      <a16:creationId xmlns:a16="http://schemas.microsoft.com/office/drawing/2014/main" id="{0F1A7DAB-ED10-FEAE-B815-EEB0078F554A}"/>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mn-lt"/>
                    <a:cs typeface="+mn-cs"/>
                  </a:endParaRPr>
                </a:p>
              </p:txBody>
            </p:sp>
            <p:sp>
              <p:nvSpPr>
                <p:cNvPr id="127" name="Rechthoek 126">
                  <a:extLst>
                    <a:ext uri="{FF2B5EF4-FFF2-40B4-BE49-F238E27FC236}">
                      <a16:creationId xmlns:a16="http://schemas.microsoft.com/office/drawing/2014/main" id="{E0108490-A20B-9360-5D56-833304F142BE}"/>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mn-lt"/>
                    <a:cs typeface="+mn-cs"/>
                  </a:endParaRPr>
                </a:p>
              </p:txBody>
            </p:sp>
          </p:grpSp>
          <p:grpSp>
            <p:nvGrpSpPr>
              <p:cNvPr id="121" name="Groep 120">
                <a:extLst>
                  <a:ext uri="{FF2B5EF4-FFF2-40B4-BE49-F238E27FC236}">
                    <a16:creationId xmlns:a16="http://schemas.microsoft.com/office/drawing/2014/main" id="{D600B5E5-C48C-DB2B-BF0F-B4AAAB1B5FE5}"/>
                  </a:ext>
                </a:extLst>
              </p:cNvPr>
              <p:cNvGrpSpPr/>
              <p:nvPr userDrawn="1"/>
            </p:nvGrpSpPr>
            <p:grpSpPr>
              <a:xfrm>
                <a:off x="-3257053" y="3276580"/>
                <a:ext cx="182309" cy="163794"/>
                <a:chOff x="12832541" y="3162395"/>
                <a:chExt cx="219532" cy="197236"/>
              </a:xfrm>
            </p:grpSpPr>
            <p:sp>
              <p:nvSpPr>
                <p:cNvPr id="122" name="Rechthoek 121">
                  <a:extLst>
                    <a:ext uri="{FF2B5EF4-FFF2-40B4-BE49-F238E27FC236}">
                      <a16:creationId xmlns:a16="http://schemas.microsoft.com/office/drawing/2014/main" id="{8FFDFCB7-CA58-684D-C90E-E3B1B99BCB46}"/>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mn-lt"/>
                    <a:cs typeface="+mn-cs"/>
                  </a:endParaRPr>
                </a:p>
              </p:txBody>
            </p:sp>
            <p:sp>
              <p:nvSpPr>
                <p:cNvPr id="123" name="Rechthoek 122">
                  <a:extLst>
                    <a:ext uri="{FF2B5EF4-FFF2-40B4-BE49-F238E27FC236}">
                      <a16:creationId xmlns:a16="http://schemas.microsoft.com/office/drawing/2014/main" id="{D12B50F4-87E2-539F-0A27-1A8A660A0CE9}"/>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mn-lt"/>
                    <a:cs typeface="+mn-cs"/>
                  </a:endParaRPr>
                </a:p>
              </p:txBody>
            </p:sp>
            <p:sp>
              <p:nvSpPr>
                <p:cNvPr id="124" name="Rechthoek 123">
                  <a:extLst>
                    <a:ext uri="{FF2B5EF4-FFF2-40B4-BE49-F238E27FC236}">
                      <a16:creationId xmlns:a16="http://schemas.microsoft.com/office/drawing/2014/main" id="{0ABD1C56-328E-DB2F-95B2-F1FD08B2BAAC}"/>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solidFill>
                      <a:srgbClr val="211F26"/>
                    </a:solidFill>
                    <a:latin typeface="+mn-lt"/>
                    <a:cs typeface="+mn-cs"/>
                  </a:endParaRPr>
                </a:p>
              </p:txBody>
            </p:sp>
          </p:grpSp>
        </p:grpSp>
        <p:sp>
          <p:nvSpPr>
            <p:cNvPr id="14" name="Ovaal 13">
              <a:extLst>
                <a:ext uri="{FF2B5EF4-FFF2-40B4-BE49-F238E27FC236}">
                  <a16:creationId xmlns:a16="http://schemas.microsoft.com/office/drawing/2014/main" id="{39FD321F-9639-C9FA-6A75-0FCBBD1EFA59}"/>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mn-lt"/>
                  <a:cs typeface="+mn-cs"/>
                </a:rPr>
                <a:t>2</a:t>
              </a:r>
            </a:p>
          </p:txBody>
        </p:sp>
        <p:sp>
          <p:nvSpPr>
            <p:cNvPr id="16" name="Rechthoek 15">
              <a:extLst>
                <a:ext uri="{FF2B5EF4-FFF2-40B4-BE49-F238E27FC236}">
                  <a16:creationId xmlns:a16="http://schemas.microsoft.com/office/drawing/2014/main" id="{6642F72C-DC60-01F9-F5D4-4CBD68BD2973}"/>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mn-lt"/>
                  <a:cs typeface="+mn-cs"/>
                </a:rPr>
                <a:t>Select the preferred category and image</a:t>
              </a:r>
              <a:br>
                <a:rPr kumimoji="0" lang="en-GB" sz="1200" b="0" i="0" u="none" strike="noStrike" kern="0" cap="none" spc="0" normalizeH="0" baseline="0" noProof="0">
                  <a:ln>
                    <a:noFill/>
                  </a:ln>
                  <a:solidFill>
                    <a:srgbClr val="000000"/>
                  </a:solidFill>
                  <a:effectLst/>
                  <a:uLnTx/>
                  <a:uFillTx/>
                  <a:latin typeface="+mn-lt"/>
                  <a:cs typeface="+mn-cs"/>
                </a:rPr>
              </a:br>
              <a:r>
                <a:rPr kumimoji="0" lang="en-GB" sz="1200" b="0" i="0" u="none" strike="noStrike" kern="0" cap="none" spc="0" normalizeH="0" baseline="0" noProof="0">
                  <a:ln>
                    <a:noFill/>
                  </a:ln>
                  <a:solidFill>
                    <a:srgbClr val="000000"/>
                  </a:solidFill>
                  <a:effectLst/>
                  <a:uLnTx/>
                  <a:uFillTx/>
                  <a:latin typeface="+mn-lt"/>
                  <a:cs typeface="+mn-cs"/>
                </a:rPr>
                <a:t>and click on  </a:t>
              </a:r>
              <a:r>
                <a:rPr kumimoji="0" lang="en-GB" sz="1200" b="1" i="0" u="none" strike="noStrike" kern="0" cap="none" spc="0" normalizeH="0" baseline="0" noProof="0">
                  <a:ln>
                    <a:noFill/>
                  </a:ln>
                  <a:solidFill>
                    <a:srgbClr val="000000"/>
                  </a:solidFill>
                  <a:effectLst/>
                  <a:uLnTx/>
                  <a:uFillTx/>
                  <a:latin typeface="+mn-lt"/>
                  <a:cs typeface="+mn-cs"/>
                </a:rPr>
                <a:t>‘Insert’</a:t>
              </a:r>
              <a:r>
                <a:rPr kumimoji="0" lang="en-GB" sz="1200" b="0" i="0" u="none" strike="noStrike" kern="0" cap="none" spc="0" normalizeH="0" baseline="0" noProof="0">
                  <a:ln>
                    <a:noFill/>
                  </a:ln>
                  <a:solidFill>
                    <a:srgbClr val="000000"/>
                  </a:solidFill>
                  <a:effectLst/>
                  <a:uLnTx/>
                  <a:uFillTx/>
                  <a:latin typeface="+mn-lt"/>
                  <a:cs typeface="+mn-cs"/>
                </a:rPr>
                <a:t>.</a:t>
              </a:r>
            </a:p>
          </p:txBody>
        </p:sp>
        <p:sp>
          <p:nvSpPr>
            <p:cNvPr id="17" name="Rechthoek 16">
              <a:extLst>
                <a:ext uri="{FF2B5EF4-FFF2-40B4-BE49-F238E27FC236}">
                  <a16:creationId xmlns:a16="http://schemas.microsoft.com/office/drawing/2014/main" id="{AAFD65EA-DC8D-7446-85EA-318E9E2329CA}"/>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a:solidFill>
                    <a:srgbClr val="211F26"/>
                  </a:solidFill>
                  <a:latin typeface="+mn-lt"/>
                  <a:cs typeface="+mn-cs"/>
                </a:rPr>
                <a:t>Insert</a:t>
              </a:r>
            </a:p>
          </p:txBody>
        </p:sp>
        <p:grpSp>
          <p:nvGrpSpPr>
            <p:cNvPr id="19" name="Groep 18">
              <a:extLst>
                <a:ext uri="{FF2B5EF4-FFF2-40B4-BE49-F238E27FC236}">
                  <a16:creationId xmlns:a16="http://schemas.microsoft.com/office/drawing/2014/main" id="{D1EF85E2-C0DE-AB67-389C-EF356921F9FB}"/>
                </a:ext>
              </a:extLst>
            </p:cNvPr>
            <p:cNvGrpSpPr/>
            <p:nvPr userDrawn="1"/>
          </p:nvGrpSpPr>
          <p:grpSpPr>
            <a:xfrm>
              <a:off x="-3426605" y="4716809"/>
              <a:ext cx="514284" cy="506545"/>
              <a:chOff x="12617641" y="3403239"/>
              <a:chExt cx="752963" cy="741634"/>
            </a:xfrm>
          </p:grpSpPr>
          <p:grpSp>
            <p:nvGrpSpPr>
              <p:cNvPr id="98" name="Groep 97">
                <a:extLst>
                  <a:ext uri="{FF2B5EF4-FFF2-40B4-BE49-F238E27FC236}">
                    <a16:creationId xmlns:a16="http://schemas.microsoft.com/office/drawing/2014/main" id="{D9949B44-A423-7899-FA28-C3E51E65D481}"/>
                  </a:ext>
                </a:extLst>
              </p:cNvPr>
              <p:cNvGrpSpPr/>
              <p:nvPr userDrawn="1"/>
            </p:nvGrpSpPr>
            <p:grpSpPr>
              <a:xfrm>
                <a:off x="12771530" y="3403239"/>
                <a:ext cx="467176" cy="448491"/>
                <a:chOff x="12782157" y="3403239"/>
                <a:chExt cx="467176" cy="448491"/>
              </a:xfrm>
            </p:grpSpPr>
            <p:grpSp>
              <p:nvGrpSpPr>
                <p:cNvPr id="101" name="Groep 100">
                  <a:extLst>
                    <a:ext uri="{FF2B5EF4-FFF2-40B4-BE49-F238E27FC236}">
                      <a16:creationId xmlns:a16="http://schemas.microsoft.com/office/drawing/2014/main" id="{C4DBC9AB-1455-18F6-CC35-5DBD679A610F}"/>
                    </a:ext>
                  </a:extLst>
                </p:cNvPr>
                <p:cNvGrpSpPr/>
                <p:nvPr userDrawn="1"/>
              </p:nvGrpSpPr>
              <p:grpSpPr>
                <a:xfrm>
                  <a:off x="12782157" y="3403239"/>
                  <a:ext cx="412976" cy="396132"/>
                  <a:chOff x="13554906" y="3320109"/>
                  <a:chExt cx="443917" cy="425811"/>
                </a:xfrm>
              </p:grpSpPr>
              <p:grpSp>
                <p:nvGrpSpPr>
                  <p:cNvPr id="108" name="Groep 107">
                    <a:extLst>
                      <a:ext uri="{FF2B5EF4-FFF2-40B4-BE49-F238E27FC236}">
                        <a16:creationId xmlns:a16="http://schemas.microsoft.com/office/drawing/2014/main" id="{B27CCCA0-5F67-0DC9-5C90-BB03D4EF3F47}"/>
                      </a:ext>
                    </a:extLst>
                  </p:cNvPr>
                  <p:cNvGrpSpPr/>
                  <p:nvPr userDrawn="1"/>
                </p:nvGrpSpPr>
                <p:grpSpPr>
                  <a:xfrm>
                    <a:off x="13554906" y="3320109"/>
                    <a:ext cx="443917" cy="425811"/>
                    <a:chOff x="12909684" y="1276143"/>
                    <a:chExt cx="443917" cy="425811"/>
                  </a:xfrm>
                </p:grpSpPr>
                <p:sp>
                  <p:nvSpPr>
                    <p:cNvPr id="111" name="Rechthoek 110">
                      <a:extLst>
                        <a:ext uri="{FF2B5EF4-FFF2-40B4-BE49-F238E27FC236}">
                          <a16:creationId xmlns:a16="http://schemas.microsoft.com/office/drawing/2014/main" id="{689C3BF1-F398-362B-87FA-580C0D33700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mn-lt"/>
                        <a:cs typeface="+mn-cs"/>
                      </a:endParaRPr>
                    </a:p>
                  </p:txBody>
                </p:sp>
                <p:sp>
                  <p:nvSpPr>
                    <p:cNvPr id="112" name="Rechthoek 111">
                      <a:extLst>
                        <a:ext uri="{FF2B5EF4-FFF2-40B4-BE49-F238E27FC236}">
                          <a16:creationId xmlns:a16="http://schemas.microsoft.com/office/drawing/2014/main" id="{4FE6B03C-F4D3-9D6B-A012-9E7CD473D8AB}"/>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a:solidFill>
                          <a:srgbClr val="211F26"/>
                        </a:solidFill>
                        <a:latin typeface="+mn-lt"/>
                        <a:cs typeface="+mn-cs"/>
                      </a:endParaRPr>
                    </a:p>
                  </p:txBody>
                </p:sp>
                <p:sp>
                  <p:nvSpPr>
                    <p:cNvPr id="113" name="Ovaal 112">
                      <a:extLst>
                        <a:ext uri="{FF2B5EF4-FFF2-40B4-BE49-F238E27FC236}">
                          <a16:creationId xmlns:a16="http://schemas.microsoft.com/office/drawing/2014/main" id="{7E483A5D-6168-4224-A2A1-11F432CEFD2E}"/>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mn-lt"/>
                        <a:cs typeface="+mn-cs"/>
                      </a:endParaRPr>
                    </a:p>
                  </p:txBody>
                </p:sp>
              </p:grpSp>
              <p:pic>
                <p:nvPicPr>
                  <p:cNvPr id="109" name="Afbeelding 108">
                    <a:extLst>
                      <a:ext uri="{FF2B5EF4-FFF2-40B4-BE49-F238E27FC236}">
                        <a16:creationId xmlns:a16="http://schemas.microsoft.com/office/drawing/2014/main" id="{4395B274-C91E-B321-1CB6-11C371A41E87}"/>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0" name="Afbeelding 109">
                    <a:extLst>
                      <a:ext uri="{FF2B5EF4-FFF2-40B4-BE49-F238E27FC236}">
                        <a16:creationId xmlns:a16="http://schemas.microsoft.com/office/drawing/2014/main" id="{333DBCD9-1292-4071-3BBC-20496D0A4296}"/>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2" name="Groep 101">
                  <a:extLst>
                    <a:ext uri="{FF2B5EF4-FFF2-40B4-BE49-F238E27FC236}">
                      <a16:creationId xmlns:a16="http://schemas.microsoft.com/office/drawing/2014/main" id="{48FA0B69-CD20-ABFB-10A7-1ED5B706F92A}"/>
                    </a:ext>
                  </a:extLst>
                </p:cNvPr>
                <p:cNvGrpSpPr/>
                <p:nvPr userDrawn="1"/>
              </p:nvGrpSpPr>
              <p:grpSpPr>
                <a:xfrm>
                  <a:off x="13103513" y="3705268"/>
                  <a:ext cx="145820" cy="146462"/>
                  <a:chOff x="13096169" y="3602278"/>
                  <a:chExt cx="145820" cy="146462"/>
                </a:xfrm>
              </p:grpSpPr>
              <p:sp>
                <p:nvSpPr>
                  <p:cNvPr id="106" name="Rechthoek 105">
                    <a:extLst>
                      <a:ext uri="{FF2B5EF4-FFF2-40B4-BE49-F238E27FC236}">
                        <a16:creationId xmlns:a16="http://schemas.microsoft.com/office/drawing/2014/main" id="{CF9B78F2-E1E8-788B-50F7-747BC5477D1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mn-lt"/>
                      <a:cs typeface="+mn-cs"/>
                    </a:endParaRPr>
                  </a:p>
                </p:txBody>
              </p:sp>
              <p:sp>
                <p:nvSpPr>
                  <p:cNvPr id="107" name="Rechthoek 106">
                    <a:extLst>
                      <a:ext uri="{FF2B5EF4-FFF2-40B4-BE49-F238E27FC236}">
                        <a16:creationId xmlns:a16="http://schemas.microsoft.com/office/drawing/2014/main" id="{927E7184-C820-91E2-0AEB-F4FB9A7A919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mn-lt"/>
                      <a:cs typeface="+mn-cs"/>
                    </a:endParaRPr>
                  </a:p>
                </p:txBody>
              </p:sp>
            </p:grpSp>
            <p:grpSp>
              <p:nvGrpSpPr>
                <p:cNvPr id="103" name="Groep 102">
                  <a:extLst>
                    <a:ext uri="{FF2B5EF4-FFF2-40B4-BE49-F238E27FC236}">
                      <a16:creationId xmlns:a16="http://schemas.microsoft.com/office/drawing/2014/main" id="{6B558C5E-D2B7-A476-BAA9-40DFA16F7CDA}"/>
                    </a:ext>
                  </a:extLst>
                </p:cNvPr>
                <p:cNvGrpSpPr/>
                <p:nvPr userDrawn="1"/>
              </p:nvGrpSpPr>
              <p:grpSpPr>
                <a:xfrm rot="10800000">
                  <a:off x="13061402" y="3665637"/>
                  <a:ext cx="145820" cy="146462"/>
                  <a:chOff x="13096169" y="3602278"/>
                  <a:chExt cx="145820" cy="146462"/>
                </a:xfrm>
              </p:grpSpPr>
              <p:sp>
                <p:nvSpPr>
                  <p:cNvPr id="104" name="Rechthoek 103">
                    <a:extLst>
                      <a:ext uri="{FF2B5EF4-FFF2-40B4-BE49-F238E27FC236}">
                        <a16:creationId xmlns:a16="http://schemas.microsoft.com/office/drawing/2014/main" id="{6C7047B7-DCBF-25E4-0129-62AB5C5CD82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mn-lt"/>
                      <a:cs typeface="+mn-cs"/>
                    </a:endParaRPr>
                  </a:p>
                </p:txBody>
              </p:sp>
              <p:sp>
                <p:nvSpPr>
                  <p:cNvPr id="105" name="Rechthoek 104">
                    <a:extLst>
                      <a:ext uri="{FF2B5EF4-FFF2-40B4-BE49-F238E27FC236}">
                        <a16:creationId xmlns:a16="http://schemas.microsoft.com/office/drawing/2014/main" id="{4137435A-BE06-B7B8-FE91-9F327F09146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mn-lt"/>
                      <a:cs typeface="+mn-cs"/>
                    </a:endParaRPr>
                  </a:p>
                </p:txBody>
              </p:sp>
            </p:grpSp>
          </p:grpSp>
          <p:sp>
            <p:nvSpPr>
              <p:cNvPr id="99" name="Rechthoek 98">
                <a:extLst>
                  <a:ext uri="{FF2B5EF4-FFF2-40B4-BE49-F238E27FC236}">
                    <a16:creationId xmlns:a16="http://schemas.microsoft.com/office/drawing/2014/main" id="{37063042-F5EE-7C03-CCFF-B425ACADCAB5}"/>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a:solidFill>
                      <a:srgbClr val="211F26"/>
                    </a:solidFill>
                    <a:latin typeface="+mn-lt"/>
                    <a:cs typeface="+mn-cs"/>
                  </a:rPr>
                  <a:t>Crop</a:t>
                </a:r>
              </a:p>
            </p:txBody>
          </p:sp>
          <p:sp>
            <p:nvSpPr>
              <p:cNvPr id="100" name="Gelijkbenige driehoek 99">
                <a:extLst>
                  <a:ext uri="{FF2B5EF4-FFF2-40B4-BE49-F238E27FC236}">
                    <a16:creationId xmlns:a16="http://schemas.microsoft.com/office/drawing/2014/main" id="{3D81D19A-80CD-C908-A7BF-2E4221E13C83}"/>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mn-lt"/>
                  <a:cs typeface="+mn-cs"/>
                </a:endParaRPr>
              </a:p>
            </p:txBody>
          </p:sp>
        </p:grpSp>
        <p:sp>
          <p:nvSpPr>
            <p:cNvPr id="21" name="Rechthoek 20">
              <a:extLst>
                <a:ext uri="{FF2B5EF4-FFF2-40B4-BE49-F238E27FC236}">
                  <a16:creationId xmlns:a16="http://schemas.microsoft.com/office/drawing/2014/main" id="{F95B9D77-331B-67C4-EE24-EE49CF59C51A}"/>
                </a:ext>
              </a:extLst>
            </p:cNvPr>
            <p:cNvSpPr/>
            <p:nvPr userDrawn="1"/>
          </p:nvSpPr>
          <p:spPr>
            <a:xfrm>
              <a:off x="-3786165" y="540892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mn-lt"/>
                  <a:cs typeface="+mn-cs"/>
                </a:rPr>
                <a:t>Want to know more?</a:t>
              </a:r>
              <a:br>
                <a:rPr lang="en-GB" sz="1200" b="1" cap="all" baseline="0" noProof="0">
                  <a:solidFill>
                    <a:srgbClr val="211F26"/>
                  </a:solidFill>
                  <a:latin typeface="+mn-lt"/>
                  <a:cs typeface="+mn-cs"/>
                </a:rPr>
              </a:br>
              <a:r>
                <a:rPr lang="en-GB" sz="1200" cap="none" baseline="0" noProof="0">
                  <a:solidFill>
                    <a:srgbClr val="211F26"/>
                  </a:solidFill>
                  <a:latin typeface="+mn-lt"/>
                  <a:cs typeface="+mn-cs"/>
                </a:rPr>
                <a:t>Go to the </a:t>
              </a:r>
              <a:r>
                <a:rPr lang="en-GB" sz="1200" kern="1200" cap="none" baseline="0" noProof="0">
                  <a:solidFill>
                    <a:srgbClr val="211F26"/>
                  </a:solidFill>
                  <a:latin typeface="+mn-lt"/>
                  <a:ea typeface="+mn-ea"/>
                  <a:cs typeface="+mn-cs"/>
                </a:rPr>
                <a:t>tab</a:t>
              </a:r>
              <a:r>
                <a:rPr lang="en-GB" sz="1200" b="1" cap="all" baseline="0" noProof="0">
                  <a:solidFill>
                    <a:srgbClr val="211F26"/>
                  </a:solidFill>
                  <a:latin typeface="+mn-lt"/>
                  <a:cs typeface="+mn-cs"/>
                </a:rPr>
                <a:t> 'SLIDEBUILDER’ </a:t>
              </a:r>
              <a:r>
                <a:rPr lang="en-GB" sz="1200" kern="1200" cap="none" baseline="0" noProof="0">
                  <a:solidFill>
                    <a:srgbClr val="211F26"/>
                  </a:solidFill>
                  <a:latin typeface="+mn-lt"/>
                  <a:ea typeface="+mn-ea"/>
                  <a:cs typeface="+mn-cs"/>
                </a:rPr>
                <a:t>and click</a:t>
              </a:r>
              <a:br>
                <a:rPr lang="en-GB" sz="1200" kern="1200" cap="none" baseline="0" noProof="0">
                  <a:solidFill>
                    <a:srgbClr val="211F26"/>
                  </a:solidFill>
                  <a:latin typeface="+mn-lt"/>
                  <a:ea typeface="+mn-ea"/>
                  <a:cs typeface="+mn-cs"/>
                </a:rPr>
              </a:br>
              <a:r>
                <a:rPr lang="en-GB" sz="1200" kern="1200" cap="none" baseline="0" noProof="0">
                  <a:solidFill>
                    <a:srgbClr val="211F26"/>
                  </a:solidFill>
                  <a:latin typeface="+mn-lt"/>
                  <a:ea typeface="+mn-ea"/>
                  <a:cs typeface="+mn-cs"/>
                </a:rPr>
                <a:t>on the button </a:t>
              </a:r>
              <a:r>
                <a:rPr lang="en-GB" sz="1200" b="1" cap="all" baseline="0" noProof="0">
                  <a:solidFill>
                    <a:srgbClr val="211F26"/>
                  </a:solidFill>
                  <a:latin typeface="+mn-lt"/>
                  <a:cs typeface="+mn-cs"/>
                </a:rPr>
                <a:t>‘Inspiration'</a:t>
              </a:r>
            </a:p>
          </p:txBody>
        </p:sp>
        <p:grpSp>
          <p:nvGrpSpPr>
            <p:cNvPr id="81" name="ICOON_info">
              <a:extLst>
                <a:ext uri="{FF2B5EF4-FFF2-40B4-BE49-F238E27FC236}">
                  <a16:creationId xmlns:a16="http://schemas.microsoft.com/office/drawing/2014/main" id="{081EFD2F-ED4B-98CC-E23B-F42683A877DD}"/>
                </a:ext>
              </a:extLst>
            </p:cNvPr>
            <p:cNvGrpSpPr/>
            <p:nvPr userDrawn="1"/>
          </p:nvGrpSpPr>
          <p:grpSpPr>
            <a:xfrm>
              <a:off x="-376736" y="5282697"/>
              <a:ext cx="283685" cy="283685"/>
              <a:chOff x="-510741" y="5913713"/>
              <a:chExt cx="267555" cy="267555"/>
            </a:xfrm>
          </p:grpSpPr>
          <p:sp>
            <p:nvSpPr>
              <p:cNvPr id="96" name="Ovaal 95">
                <a:extLst>
                  <a:ext uri="{FF2B5EF4-FFF2-40B4-BE49-F238E27FC236}">
                    <a16:creationId xmlns:a16="http://schemas.microsoft.com/office/drawing/2014/main" id="{4C31827B-2853-4265-65B9-8AFD7EF2E888}"/>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mn-lt"/>
                  <a:cs typeface="+mn-cs"/>
                </a:endParaRPr>
              </a:p>
            </p:txBody>
          </p:sp>
          <p:sp>
            <p:nvSpPr>
              <p:cNvPr id="97" name="Graphic 163" descr="Informatie">
                <a:extLst>
                  <a:ext uri="{FF2B5EF4-FFF2-40B4-BE49-F238E27FC236}">
                    <a16:creationId xmlns:a16="http://schemas.microsoft.com/office/drawing/2014/main" id="{0301DEC5-155D-55FF-818C-6A44B32137D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a:solidFill>
                    <a:srgbClr val="211F26"/>
                  </a:solidFill>
                  <a:latin typeface="+mn-lt"/>
                  <a:cs typeface="+mn-cs"/>
                </a:endParaRPr>
              </a:p>
            </p:txBody>
          </p:sp>
        </p:grpSp>
        <p:grpSp>
          <p:nvGrpSpPr>
            <p:cNvPr id="82" name="Groep 81">
              <a:extLst>
                <a:ext uri="{FF2B5EF4-FFF2-40B4-BE49-F238E27FC236}">
                  <a16:creationId xmlns:a16="http://schemas.microsoft.com/office/drawing/2014/main" id="{5E7B338E-5692-55ED-6481-FA630DDB37F9}"/>
                </a:ext>
              </a:extLst>
            </p:cNvPr>
            <p:cNvGrpSpPr/>
            <p:nvPr userDrawn="1"/>
          </p:nvGrpSpPr>
          <p:grpSpPr>
            <a:xfrm>
              <a:off x="-938434" y="5546300"/>
              <a:ext cx="627798" cy="576693"/>
              <a:chOff x="-938434" y="4570310"/>
              <a:chExt cx="627798" cy="576693"/>
            </a:xfrm>
          </p:grpSpPr>
          <p:grpSp>
            <p:nvGrpSpPr>
              <p:cNvPr id="91" name="Inspireren">
                <a:extLst>
                  <a:ext uri="{FF2B5EF4-FFF2-40B4-BE49-F238E27FC236}">
                    <a16:creationId xmlns:a16="http://schemas.microsoft.com/office/drawing/2014/main" id="{B35E4C4B-4C79-B291-4F62-E1C00DDD86A3}"/>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93" name="Freeform 12">
                  <a:extLst>
                    <a:ext uri="{FF2B5EF4-FFF2-40B4-BE49-F238E27FC236}">
                      <a16:creationId xmlns:a16="http://schemas.microsoft.com/office/drawing/2014/main" id="{A1274A5B-BA04-EBFF-E342-81BFB81F2E17}"/>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Aptos" panose="020B0004020202020204" pitchFamily="34" charset="0"/>
                  </a:endParaRPr>
                </a:p>
              </p:txBody>
            </p:sp>
            <p:sp>
              <p:nvSpPr>
                <p:cNvPr id="94" name="Freeform 13">
                  <a:extLst>
                    <a:ext uri="{FF2B5EF4-FFF2-40B4-BE49-F238E27FC236}">
                      <a16:creationId xmlns:a16="http://schemas.microsoft.com/office/drawing/2014/main" id="{1A3330D6-7EFF-7C0A-E863-C89A49135DF8}"/>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Aptos" panose="020B0004020202020204" pitchFamily="34" charset="0"/>
                  </a:endParaRPr>
                </a:p>
              </p:txBody>
            </p:sp>
            <p:sp>
              <p:nvSpPr>
                <p:cNvPr id="95" name="Freeform 14">
                  <a:extLst>
                    <a:ext uri="{FF2B5EF4-FFF2-40B4-BE49-F238E27FC236}">
                      <a16:creationId xmlns:a16="http://schemas.microsoft.com/office/drawing/2014/main" id="{27DEC7D2-71CC-70F8-9CCB-A12A7201A855}"/>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Aptos" panose="020B0004020202020204" pitchFamily="34" charset="0"/>
                  </a:endParaRPr>
                </a:p>
              </p:txBody>
            </p:sp>
          </p:grpSp>
          <p:sp>
            <p:nvSpPr>
              <p:cNvPr id="92" name="Tekstvak 91">
                <a:extLst>
                  <a:ext uri="{FF2B5EF4-FFF2-40B4-BE49-F238E27FC236}">
                    <a16:creationId xmlns:a16="http://schemas.microsoft.com/office/drawing/2014/main" id="{031B6201-5747-6608-33DC-B1594E07E85E}"/>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mn-lt"/>
                    <a:ea typeface="+mn-ea"/>
                    <a:cs typeface="+mn-cs"/>
                  </a:rPr>
                  <a:t>Inspiration</a:t>
                </a:r>
              </a:p>
            </p:txBody>
          </p:sp>
        </p:grpSp>
        <p:grpSp>
          <p:nvGrpSpPr>
            <p:cNvPr id="83" name="Groep 82">
              <a:extLst>
                <a:ext uri="{FF2B5EF4-FFF2-40B4-BE49-F238E27FC236}">
                  <a16:creationId xmlns:a16="http://schemas.microsoft.com/office/drawing/2014/main" id="{ADD6E610-49CD-D493-3EB7-09ED46D8A3B8}"/>
                </a:ext>
              </a:extLst>
            </p:cNvPr>
            <p:cNvGrpSpPr/>
            <p:nvPr userDrawn="1"/>
          </p:nvGrpSpPr>
          <p:grpSpPr>
            <a:xfrm>
              <a:off x="-3365484" y="1226982"/>
              <a:ext cx="446937" cy="406485"/>
              <a:chOff x="-3563526" y="1409294"/>
              <a:chExt cx="354190" cy="322133"/>
            </a:xfrm>
          </p:grpSpPr>
          <p:grpSp>
            <p:nvGrpSpPr>
              <p:cNvPr id="84" name="Groep 83">
                <a:extLst>
                  <a:ext uri="{FF2B5EF4-FFF2-40B4-BE49-F238E27FC236}">
                    <a16:creationId xmlns:a16="http://schemas.microsoft.com/office/drawing/2014/main" id="{B1E7C54C-15AD-4754-4AE9-11323796162D}"/>
                  </a:ext>
                </a:extLst>
              </p:cNvPr>
              <p:cNvGrpSpPr/>
              <p:nvPr userDrawn="1"/>
            </p:nvGrpSpPr>
            <p:grpSpPr>
              <a:xfrm>
                <a:off x="-3499992" y="1409294"/>
                <a:ext cx="225195" cy="195499"/>
                <a:chOff x="8987389" y="1361199"/>
                <a:chExt cx="2200275" cy="1914525"/>
              </a:xfrm>
            </p:grpSpPr>
            <p:sp>
              <p:nvSpPr>
                <p:cNvPr id="86" name="Vrije vorm: vorm 85">
                  <a:extLst>
                    <a:ext uri="{FF2B5EF4-FFF2-40B4-BE49-F238E27FC236}">
                      <a16:creationId xmlns:a16="http://schemas.microsoft.com/office/drawing/2014/main" id="{4BCF8101-79C7-7F9E-A1B0-484DE48069E6}"/>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a:solidFill>
                      <a:srgbClr val="211F26"/>
                    </a:solidFill>
                    <a:latin typeface="Aptos" panose="020B0004020202020204" pitchFamily="34" charset="0"/>
                  </a:endParaRPr>
                </a:p>
              </p:txBody>
            </p:sp>
            <p:grpSp>
              <p:nvGrpSpPr>
                <p:cNvPr id="87" name="Groep 86">
                  <a:extLst>
                    <a:ext uri="{FF2B5EF4-FFF2-40B4-BE49-F238E27FC236}">
                      <a16:creationId xmlns:a16="http://schemas.microsoft.com/office/drawing/2014/main" id="{C2C61764-CA10-C1F0-B38C-4330CDC78F52}"/>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89" name="Vrije vorm: vorm 88">
                    <a:extLst>
                      <a:ext uri="{FF2B5EF4-FFF2-40B4-BE49-F238E27FC236}">
                        <a16:creationId xmlns:a16="http://schemas.microsoft.com/office/drawing/2014/main" id="{DCAFBC8A-570E-45EB-B74F-BF4F70153898}"/>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a:solidFill>
                        <a:srgbClr val="211F26"/>
                      </a:solidFill>
                      <a:latin typeface="Aptos" panose="020B0004020202020204" pitchFamily="34" charset="0"/>
                    </a:endParaRPr>
                  </a:p>
                </p:txBody>
              </p:sp>
              <p:sp>
                <p:nvSpPr>
                  <p:cNvPr id="90" name="Vrije vorm: vorm 89">
                    <a:extLst>
                      <a:ext uri="{FF2B5EF4-FFF2-40B4-BE49-F238E27FC236}">
                        <a16:creationId xmlns:a16="http://schemas.microsoft.com/office/drawing/2014/main" id="{CDA82D53-A75F-12DA-AD58-2A81D4E5D2F6}"/>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a:solidFill>
                        <a:srgbClr val="211F26"/>
                      </a:solidFill>
                      <a:latin typeface="Aptos" panose="020B0004020202020204" pitchFamily="34" charset="0"/>
                    </a:endParaRPr>
                  </a:p>
                </p:txBody>
              </p:sp>
            </p:grpSp>
          </p:grpSp>
          <p:sp>
            <p:nvSpPr>
              <p:cNvPr id="85" name="Tekstvak 84">
                <a:extLst>
                  <a:ext uri="{FF2B5EF4-FFF2-40B4-BE49-F238E27FC236}">
                    <a16:creationId xmlns:a16="http://schemas.microsoft.com/office/drawing/2014/main" id="{D33ECB7E-B428-524E-4CC7-AF4BE5D3548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mn-lt"/>
                    <a:ea typeface="+mn-ea"/>
                    <a:cs typeface="+mn-cs"/>
                  </a:rPr>
                  <a:t>Images</a:t>
                </a:r>
              </a:p>
            </p:txBody>
          </p:sp>
        </p:grpSp>
      </p:grpSp>
      <p:sp>
        <p:nvSpPr>
          <p:cNvPr id="15" name="Rechthoek: afgeronde hoeken 14">
            <a:extLst>
              <a:ext uri="{FF2B5EF4-FFF2-40B4-BE49-F238E27FC236}">
                <a16:creationId xmlns:a16="http://schemas.microsoft.com/office/drawing/2014/main" id="{789118B5-3B2D-5D45-2D40-424E0EEB9AFA}"/>
              </a:ext>
            </a:extLst>
          </p:cNvPr>
          <p:cNvSpPr/>
          <p:nvPr userDrawn="1"/>
        </p:nvSpPr>
        <p:spPr>
          <a:xfrm>
            <a:off x="0" y="-367937"/>
            <a:ext cx="1164358" cy="24622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en-GB" sz="1600" b="1" cap="none" baseline="0" noProof="0" err="1">
                <a:solidFill>
                  <a:schemeClr val="accent1"/>
                </a:solidFill>
                <a:latin typeface="+mj-lt"/>
              </a:rPr>
              <a:t>Titel</a:t>
            </a:r>
            <a:r>
              <a:rPr lang="en-GB" sz="1600" b="1" cap="none" baseline="0" noProof="0">
                <a:solidFill>
                  <a:schemeClr val="accent1"/>
                </a:solidFill>
                <a:latin typeface="+mj-lt"/>
              </a:rPr>
              <a:t> slide #2</a:t>
            </a:r>
          </a:p>
        </p:txBody>
      </p:sp>
      <p:sp>
        <p:nvSpPr>
          <p:cNvPr id="23" name="Tijdelijke aanduiding voor tekst 75">
            <a:extLst>
              <a:ext uri="{FF2B5EF4-FFF2-40B4-BE49-F238E27FC236}">
                <a16:creationId xmlns:a16="http://schemas.microsoft.com/office/drawing/2014/main" id="{927CA19B-954D-5C0D-2022-845EA5328BB9}"/>
              </a:ext>
            </a:extLst>
          </p:cNvPr>
          <p:cNvSpPr>
            <a:spLocks noGrp="1"/>
          </p:cNvSpPr>
          <p:nvPr>
            <p:ph type="body" sz="quarter" idx="15" hasCustomPrompt="1"/>
          </p:nvPr>
        </p:nvSpPr>
        <p:spPr>
          <a:xfrm>
            <a:off x="1575191" y="861444"/>
            <a:ext cx="169586" cy="222568"/>
          </a:xfrm>
          <a:custGeom>
            <a:avLst/>
            <a:gdLst>
              <a:gd name="connsiteX0" fmla="*/ 66761 w 453380"/>
              <a:gd name="connsiteY0" fmla="*/ 0 h 595025"/>
              <a:gd name="connsiteX1" fmla="*/ 389527 w 453380"/>
              <a:gd name="connsiteY1" fmla="*/ 0 h 595025"/>
              <a:gd name="connsiteX2" fmla="*/ 453380 w 453380"/>
              <a:gd name="connsiteY2" fmla="*/ 63854 h 595025"/>
              <a:gd name="connsiteX3" fmla="*/ 389527 w 453380"/>
              <a:gd name="connsiteY3" fmla="*/ 128292 h 595025"/>
              <a:gd name="connsiteX4" fmla="*/ 133515 w 453380"/>
              <a:gd name="connsiteY4" fmla="*/ 128292 h 595025"/>
              <a:gd name="connsiteX5" fmla="*/ 133515 w 453380"/>
              <a:gd name="connsiteY5" fmla="*/ 253104 h 595025"/>
              <a:gd name="connsiteX6" fmla="*/ 293743 w 453380"/>
              <a:gd name="connsiteY6" fmla="*/ 253104 h 595025"/>
              <a:gd name="connsiteX7" fmla="*/ 357597 w 453380"/>
              <a:gd name="connsiteY7" fmla="*/ 317543 h 595025"/>
              <a:gd name="connsiteX8" fmla="*/ 293743 w 453380"/>
              <a:gd name="connsiteY8" fmla="*/ 381396 h 595025"/>
              <a:gd name="connsiteX9" fmla="*/ 133515 w 453380"/>
              <a:gd name="connsiteY9" fmla="*/ 381396 h 595025"/>
              <a:gd name="connsiteX10" fmla="*/ 133515 w 453380"/>
              <a:gd name="connsiteY10" fmla="*/ 382560 h 595025"/>
              <a:gd name="connsiteX11" fmla="*/ 133515 w 453380"/>
              <a:gd name="connsiteY11" fmla="*/ 527686 h 595025"/>
              <a:gd name="connsiteX12" fmla="*/ 66761 w 453380"/>
              <a:gd name="connsiteY12" fmla="*/ 595025 h 595025"/>
              <a:gd name="connsiteX13" fmla="*/ 0 w 453380"/>
              <a:gd name="connsiteY13" fmla="*/ 527686 h 595025"/>
              <a:gd name="connsiteX14" fmla="*/ 0 w 453380"/>
              <a:gd name="connsiteY14" fmla="*/ 67340 h 595025"/>
              <a:gd name="connsiteX15" fmla="*/ 66761 w 453380"/>
              <a:gd name="connsiteY15" fmla="*/ 0 h 59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3380" h="595025">
                <a:moveTo>
                  <a:pt x="66761" y="0"/>
                </a:moveTo>
                <a:lnTo>
                  <a:pt x="389527" y="0"/>
                </a:lnTo>
                <a:cubicBezTo>
                  <a:pt x="432482" y="0"/>
                  <a:pt x="453380" y="22063"/>
                  <a:pt x="453380" y="63854"/>
                </a:cubicBezTo>
                <a:cubicBezTo>
                  <a:pt x="453380" y="105657"/>
                  <a:pt x="432482" y="128292"/>
                  <a:pt x="389527" y="128292"/>
                </a:cubicBezTo>
                <a:lnTo>
                  <a:pt x="133515" y="128292"/>
                </a:lnTo>
                <a:lnTo>
                  <a:pt x="133515" y="253104"/>
                </a:lnTo>
                <a:lnTo>
                  <a:pt x="293743" y="253104"/>
                </a:lnTo>
                <a:cubicBezTo>
                  <a:pt x="336698" y="253104"/>
                  <a:pt x="357597" y="275167"/>
                  <a:pt x="357597" y="317543"/>
                </a:cubicBezTo>
                <a:cubicBezTo>
                  <a:pt x="357597" y="359919"/>
                  <a:pt x="336698" y="381396"/>
                  <a:pt x="293743" y="381396"/>
                </a:cubicBezTo>
                <a:lnTo>
                  <a:pt x="133515" y="381396"/>
                </a:lnTo>
                <a:lnTo>
                  <a:pt x="133515" y="382560"/>
                </a:lnTo>
                <a:lnTo>
                  <a:pt x="133515" y="527686"/>
                </a:lnTo>
                <a:cubicBezTo>
                  <a:pt x="133515" y="572390"/>
                  <a:pt x="110880" y="595025"/>
                  <a:pt x="66761" y="595025"/>
                </a:cubicBezTo>
                <a:cubicBezTo>
                  <a:pt x="22642" y="595025"/>
                  <a:pt x="0" y="572390"/>
                  <a:pt x="0" y="527686"/>
                </a:cubicBezTo>
                <a:lnTo>
                  <a:pt x="0" y="67340"/>
                </a:lnTo>
                <a:cubicBezTo>
                  <a:pt x="0" y="22642"/>
                  <a:pt x="23221" y="0"/>
                  <a:pt x="66761" y="0"/>
                </a:cubicBezTo>
                <a:close/>
              </a:path>
            </a:pathLst>
          </a:custGeom>
          <a:solidFill>
            <a:schemeClr val="tx1"/>
          </a:solidFill>
        </p:spPr>
        <p:txBody>
          <a:bodyPr wrap="square">
            <a:noAutofit/>
          </a:bodyPr>
          <a:lstStyle>
            <a:lvl1pPr>
              <a:defRPr sz="100"/>
            </a:lvl1pPr>
          </a:lstStyle>
          <a:p>
            <a:pPr lvl="0"/>
            <a:r>
              <a:rPr lang="en-GB"/>
              <a:t> </a:t>
            </a:r>
          </a:p>
        </p:txBody>
      </p:sp>
      <p:sp>
        <p:nvSpPr>
          <p:cNvPr id="24" name="Tijdelijke aanduiding voor tekst 78">
            <a:extLst>
              <a:ext uri="{FF2B5EF4-FFF2-40B4-BE49-F238E27FC236}">
                <a16:creationId xmlns:a16="http://schemas.microsoft.com/office/drawing/2014/main" id="{2DB421BF-1094-03FE-C133-5763BD04C379}"/>
              </a:ext>
            </a:extLst>
          </p:cNvPr>
          <p:cNvSpPr>
            <a:spLocks noGrp="1"/>
          </p:cNvSpPr>
          <p:nvPr>
            <p:ph type="body" sz="quarter" idx="16" hasCustomPrompt="1"/>
          </p:nvPr>
        </p:nvSpPr>
        <p:spPr>
          <a:xfrm>
            <a:off x="1339508" y="858397"/>
            <a:ext cx="179576" cy="222788"/>
          </a:xfrm>
          <a:custGeom>
            <a:avLst/>
            <a:gdLst>
              <a:gd name="connsiteX0" fmla="*/ 135259 w 480087"/>
              <a:gd name="connsiteY0" fmla="*/ 129456 h 595610"/>
              <a:gd name="connsiteX1" fmla="*/ 135259 w 480087"/>
              <a:gd name="connsiteY1" fmla="*/ 286192 h 595610"/>
              <a:gd name="connsiteX2" fmla="*/ 249039 w 480087"/>
              <a:gd name="connsiteY2" fmla="*/ 286192 h 595610"/>
              <a:gd name="connsiteX3" fmla="*/ 341343 w 480087"/>
              <a:gd name="connsiteY3" fmla="*/ 208406 h 595610"/>
              <a:gd name="connsiteX4" fmla="*/ 249039 w 480087"/>
              <a:gd name="connsiteY4" fmla="*/ 129456 h 595610"/>
              <a:gd name="connsiteX5" fmla="*/ 67340 w 480087"/>
              <a:gd name="connsiteY5" fmla="*/ 0 h 595610"/>
              <a:gd name="connsiteX6" fmla="*/ 260650 w 480087"/>
              <a:gd name="connsiteY6" fmla="*/ 0 h 595610"/>
              <a:gd name="connsiteX7" fmla="*/ 480087 w 480087"/>
              <a:gd name="connsiteY7" fmla="*/ 207242 h 595610"/>
              <a:gd name="connsiteX8" fmla="*/ 387784 w 480087"/>
              <a:gd name="connsiteY8" fmla="*/ 369786 h 595610"/>
              <a:gd name="connsiteX9" fmla="*/ 449901 w 480087"/>
              <a:gd name="connsiteY9" fmla="*/ 494598 h 595610"/>
              <a:gd name="connsiteX10" fmla="*/ 458610 w 480087"/>
              <a:gd name="connsiteY10" fmla="*/ 530593 h 595610"/>
              <a:gd name="connsiteX11" fmla="*/ 380818 w 480087"/>
              <a:gd name="connsiteY11" fmla="*/ 594446 h 595610"/>
              <a:gd name="connsiteX12" fmla="*/ 325667 w 480087"/>
              <a:gd name="connsiteY12" fmla="*/ 551485 h 595610"/>
              <a:gd name="connsiteX13" fmla="*/ 258913 w 480087"/>
              <a:gd name="connsiteY13" fmla="*/ 408103 h 595610"/>
              <a:gd name="connsiteX14" fmla="*/ 258328 w 480087"/>
              <a:gd name="connsiteY14" fmla="*/ 408682 h 595610"/>
              <a:gd name="connsiteX15" fmla="*/ 135259 w 480087"/>
              <a:gd name="connsiteY15" fmla="*/ 408682 h 595610"/>
              <a:gd name="connsiteX16" fmla="*/ 135259 w 480087"/>
              <a:gd name="connsiteY16" fmla="*/ 528271 h 595610"/>
              <a:gd name="connsiteX17" fmla="*/ 67340 w 480087"/>
              <a:gd name="connsiteY17" fmla="*/ 595610 h 595610"/>
              <a:gd name="connsiteX18" fmla="*/ 0 w 480087"/>
              <a:gd name="connsiteY18" fmla="*/ 528271 h 595610"/>
              <a:gd name="connsiteX19" fmla="*/ 0 w 480087"/>
              <a:gd name="connsiteY19" fmla="*/ 67340 h 595610"/>
              <a:gd name="connsiteX20" fmla="*/ 67340 w 480087"/>
              <a:gd name="connsiteY20" fmla="*/ 0 h 595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0087" h="595610">
                <a:moveTo>
                  <a:pt x="135259" y="129456"/>
                </a:moveTo>
                <a:lnTo>
                  <a:pt x="135259" y="286192"/>
                </a:lnTo>
                <a:lnTo>
                  <a:pt x="249039" y="286192"/>
                </a:lnTo>
                <a:cubicBezTo>
                  <a:pt x="300704" y="286192"/>
                  <a:pt x="341343" y="262971"/>
                  <a:pt x="341343" y="208406"/>
                </a:cubicBezTo>
                <a:cubicBezTo>
                  <a:pt x="341343" y="153835"/>
                  <a:pt x="300704" y="129456"/>
                  <a:pt x="249039" y="129456"/>
                </a:cubicBezTo>
                <a:close/>
                <a:moveTo>
                  <a:pt x="67340" y="0"/>
                </a:moveTo>
                <a:lnTo>
                  <a:pt x="260650" y="0"/>
                </a:lnTo>
                <a:cubicBezTo>
                  <a:pt x="390106" y="0"/>
                  <a:pt x="480087" y="84758"/>
                  <a:pt x="480087" y="207242"/>
                </a:cubicBezTo>
                <a:cubicBezTo>
                  <a:pt x="480087" y="282133"/>
                  <a:pt x="445835" y="339020"/>
                  <a:pt x="387784" y="369786"/>
                </a:cubicBezTo>
                <a:lnTo>
                  <a:pt x="449901" y="494598"/>
                </a:lnTo>
                <a:cubicBezTo>
                  <a:pt x="456282" y="506787"/>
                  <a:pt x="458610" y="518983"/>
                  <a:pt x="458610" y="530593"/>
                </a:cubicBezTo>
                <a:cubicBezTo>
                  <a:pt x="458610" y="569483"/>
                  <a:pt x="413906" y="594446"/>
                  <a:pt x="380818" y="594446"/>
                </a:cubicBezTo>
                <a:cubicBezTo>
                  <a:pt x="355854" y="594446"/>
                  <a:pt x="337857" y="579935"/>
                  <a:pt x="325667" y="551485"/>
                </a:cubicBezTo>
                <a:lnTo>
                  <a:pt x="258913" y="408103"/>
                </a:lnTo>
                <a:lnTo>
                  <a:pt x="258328" y="408682"/>
                </a:lnTo>
                <a:lnTo>
                  <a:pt x="135259" y="408682"/>
                </a:lnTo>
                <a:lnTo>
                  <a:pt x="135259" y="528271"/>
                </a:lnTo>
                <a:cubicBezTo>
                  <a:pt x="135259" y="572969"/>
                  <a:pt x="112038" y="595610"/>
                  <a:pt x="67340" y="595610"/>
                </a:cubicBezTo>
                <a:cubicBezTo>
                  <a:pt x="22642" y="595610"/>
                  <a:pt x="0" y="572969"/>
                  <a:pt x="0" y="528271"/>
                </a:cubicBezTo>
                <a:lnTo>
                  <a:pt x="0" y="67340"/>
                </a:lnTo>
                <a:cubicBezTo>
                  <a:pt x="0" y="22642"/>
                  <a:pt x="23221" y="0"/>
                  <a:pt x="67340" y="0"/>
                </a:cubicBezTo>
                <a:close/>
              </a:path>
            </a:pathLst>
          </a:custGeom>
          <a:solidFill>
            <a:schemeClr val="tx1"/>
          </a:solidFill>
        </p:spPr>
        <p:txBody>
          <a:bodyPr wrap="square">
            <a:noAutofit/>
          </a:bodyPr>
          <a:lstStyle>
            <a:lvl1pPr>
              <a:defRPr sz="100"/>
            </a:lvl1pPr>
          </a:lstStyle>
          <a:p>
            <a:pPr lvl="0"/>
            <a:r>
              <a:rPr lang="en-GB"/>
              <a:t> </a:t>
            </a:r>
          </a:p>
        </p:txBody>
      </p:sp>
      <p:sp>
        <p:nvSpPr>
          <p:cNvPr id="25" name="Tijdelijke aanduiding voor tekst 79">
            <a:extLst>
              <a:ext uri="{FF2B5EF4-FFF2-40B4-BE49-F238E27FC236}">
                <a16:creationId xmlns:a16="http://schemas.microsoft.com/office/drawing/2014/main" id="{D439F37C-4F69-7EB6-6281-E99E48F67203}"/>
              </a:ext>
            </a:extLst>
          </p:cNvPr>
          <p:cNvSpPr>
            <a:spLocks noGrp="1"/>
          </p:cNvSpPr>
          <p:nvPr>
            <p:ph type="body" sz="quarter" idx="17" hasCustomPrompt="1"/>
          </p:nvPr>
        </p:nvSpPr>
        <p:spPr>
          <a:xfrm>
            <a:off x="1080240" y="856737"/>
            <a:ext cx="199986" cy="225393"/>
          </a:xfrm>
          <a:custGeom>
            <a:avLst/>
            <a:gdLst>
              <a:gd name="connsiteX0" fmla="*/ 67340 w 534652"/>
              <a:gd name="connsiteY0" fmla="*/ 0 h 602576"/>
              <a:gd name="connsiteX1" fmla="*/ 135259 w 534652"/>
              <a:gd name="connsiteY1" fmla="*/ 66761 h 602576"/>
              <a:gd name="connsiteX2" fmla="*/ 135259 w 534652"/>
              <a:gd name="connsiteY2" fmla="*/ 323924 h 602576"/>
              <a:gd name="connsiteX3" fmla="*/ 267037 w 534652"/>
              <a:gd name="connsiteY3" fmla="*/ 469634 h 602576"/>
              <a:gd name="connsiteX4" fmla="*/ 399973 w 534652"/>
              <a:gd name="connsiteY4" fmla="*/ 323924 h 602576"/>
              <a:gd name="connsiteX5" fmla="*/ 399973 w 534652"/>
              <a:gd name="connsiteY5" fmla="*/ 66761 h 602576"/>
              <a:gd name="connsiteX6" fmla="*/ 399394 w 534652"/>
              <a:gd name="connsiteY6" fmla="*/ 66761 h 602576"/>
              <a:gd name="connsiteX7" fmla="*/ 466734 w 534652"/>
              <a:gd name="connsiteY7" fmla="*/ 0 h 602576"/>
              <a:gd name="connsiteX8" fmla="*/ 534652 w 534652"/>
              <a:gd name="connsiteY8" fmla="*/ 66761 h 602576"/>
              <a:gd name="connsiteX9" fmla="*/ 534652 w 534652"/>
              <a:gd name="connsiteY9" fmla="*/ 323924 h 602576"/>
              <a:gd name="connsiteX10" fmla="*/ 267037 w 534652"/>
              <a:gd name="connsiteY10" fmla="*/ 602576 h 602576"/>
              <a:gd name="connsiteX11" fmla="*/ 0 w 534652"/>
              <a:gd name="connsiteY11" fmla="*/ 323924 h 602576"/>
              <a:gd name="connsiteX12" fmla="*/ 0 w 534652"/>
              <a:gd name="connsiteY12" fmla="*/ 66761 h 602576"/>
              <a:gd name="connsiteX13" fmla="*/ 67340 w 534652"/>
              <a:gd name="connsiteY13" fmla="*/ 0 h 60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4652" h="602576">
                <a:moveTo>
                  <a:pt x="67340" y="0"/>
                </a:moveTo>
                <a:cubicBezTo>
                  <a:pt x="111459" y="0"/>
                  <a:pt x="135259" y="22642"/>
                  <a:pt x="135259" y="66761"/>
                </a:cubicBezTo>
                <a:lnTo>
                  <a:pt x="135259" y="323924"/>
                </a:lnTo>
                <a:cubicBezTo>
                  <a:pt x="135259" y="415069"/>
                  <a:pt x="190988" y="469634"/>
                  <a:pt x="267037" y="469634"/>
                </a:cubicBezTo>
                <a:cubicBezTo>
                  <a:pt x="343086" y="469634"/>
                  <a:pt x="399973" y="415069"/>
                  <a:pt x="399973" y="323924"/>
                </a:cubicBezTo>
                <a:lnTo>
                  <a:pt x="399973" y="66761"/>
                </a:lnTo>
                <a:lnTo>
                  <a:pt x="399394" y="66761"/>
                </a:lnTo>
                <a:cubicBezTo>
                  <a:pt x="399394" y="22063"/>
                  <a:pt x="422615" y="0"/>
                  <a:pt x="466734" y="0"/>
                </a:cubicBezTo>
                <a:cubicBezTo>
                  <a:pt x="510853" y="0"/>
                  <a:pt x="534652" y="22642"/>
                  <a:pt x="534652" y="66761"/>
                </a:cubicBezTo>
                <a:lnTo>
                  <a:pt x="534652" y="323924"/>
                </a:lnTo>
                <a:cubicBezTo>
                  <a:pt x="534652" y="493434"/>
                  <a:pt x="421457" y="602576"/>
                  <a:pt x="267037" y="602576"/>
                </a:cubicBezTo>
                <a:cubicBezTo>
                  <a:pt x="112623" y="602576"/>
                  <a:pt x="0" y="493434"/>
                  <a:pt x="0" y="323924"/>
                </a:cubicBezTo>
                <a:lnTo>
                  <a:pt x="0" y="66761"/>
                </a:lnTo>
                <a:cubicBezTo>
                  <a:pt x="0" y="22063"/>
                  <a:pt x="23221" y="0"/>
                  <a:pt x="67340" y="0"/>
                </a:cubicBezTo>
                <a:close/>
              </a:path>
            </a:pathLst>
          </a:custGeom>
          <a:solidFill>
            <a:schemeClr val="tx1"/>
          </a:solidFill>
        </p:spPr>
        <p:txBody>
          <a:bodyPr wrap="square">
            <a:noAutofit/>
          </a:bodyPr>
          <a:lstStyle>
            <a:lvl1pPr>
              <a:defRPr sz="100"/>
            </a:lvl1pPr>
          </a:lstStyle>
          <a:p>
            <a:pPr lvl="0"/>
            <a:r>
              <a:rPr lang="en-GB"/>
              <a:t> </a:t>
            </a:r>
          </a:p>
        </p:txBody>
      </p:sp>
      <p:sp>
        <p:nvSpPr>
          <p:cNvPr id="26" name="Tijdelijke aanduiding voor tekst 82">
            <a:extLst>
              <a:ext uri="{FF2B5EF4-FFF2-40B4-BE49-F238E27FC236}">
                <a16:creationId xmlns:a16="http://schemas.microsoft.com/office/drawing/2014/main" id="{5356476F-A37E-A4AC-3E0F-53FEEAD91B61}"/>
              </a:ext>
            </a:extLst>
          </p:cNvPr>
          <p:cNvSpPr>
            <a:spLocks noGrp="1"/>
          </p:cNvSpPr>
          <p:nvPr>
            <p:ph type="body" sz="quarter" idx="20" hasCustomPrompt="1"/>
          </p:nvPr>
        </p:nvSpPr>
        <p:spPr>
          <a:xfrm>
            <a:off x="854969" y="854446"/>
            <a:ext cx="176535" cy="226911"/>
          </a:xfrm>
          <a:custGeom>
            <a:avLst/>
            <a:gdLst>
              <a:gd name="connsiteX0" fmla="*/ 237429 w 471957"/>
              <a:gd name="connsiteY0" fmla="*/ 0 h 606635"/>
              <a:gd name="connsiteX1" fmla="*/ 453381 w 471957"/>
              <a:gd name="connsiteY1" fmla="*/ 97527 h 606635"/>
              <a:gd name="connsiteX2" fmla="*/ 397651 w 471957"/>
              <a:gd name="connsiteY2" fmla="*/ 160801 h 606635"/>
              <a:gd name="connsiteX3" fmla="*/ 343665 w 471957"/>
              <a:gd name="connsiteY3" fmla="*/ 148612 h 606635"/>
              <a:gd name="connsiteX4" fmla="*/ 236850 w 471957"/>
              <a:gd name="connsiteY4" fmla="*/ 126555 h 606635"/>
              <a:gd name="connsiteX5" fmla="*/ 152677 w 471957"/>
              <a:gd name="connsiteY5" fmla="*/ 171253 h 606635"/>
              <a:gd name="connsiteX6" fmla="*/ 220017 w 471957"/>
              <a:gd name="connsiteY6" fmla="*/ 224075 h 606635"/>
              <a:gd name="connsiteX7" fmla="*/ 329733 w 471957"/>
              <a:gd name="connsiteY7" fmla="*/ 257748 h 606635"/>
              <a:gd name="connsiteX8" fmla="*/ 471957 w 471957"/>
              <a:gd name="connsiteY8" fmla="*/ 427258 h 606635"/>
              <a:gd name="connsiteX9" fmla="*/ 238593 w 471957"/>
              <a:gd name="connsiteY9" fmla="*/ 606635 h 606635"/>
              <a:gd name="connsiteX10" fmla="*/ 0 w 471957"/>
              <a:gd name="connsiteY10" fmla="*/ 509109 h 606635"/>
              <a:gd name="connsiteX11" fmla="*/ 61532 w 471957"/>
              <a:gd name="connsiteY11" fmla="*/ 445835 h 606635"/>
              <a:gd name="connsiteX12" fmla="*/ 121911 w 471957"/>
              <a:gd name="connsiteY12" fmla="*/ 458024 h 606635"/>
              <a:gd name="connsiteX13" fmla="*/ 239172 w 471957"/>
              <a:gd name="connsiteY13" fmla="*/ 480086 h 606635"/>
              <a:gd name="connsiteX14" fmla="*/ 334377 w 471957"/>
              <a:gd name="connsiteY14" fmla="*/ 423193 h 606635"/>
              <a:gd name="connsiteX15" fmla="*/ 333798 w 471957"/>
              <a:gd name="connsiteY15" fmla="*/ 423193 h 606635"/>
              <a:gd name="connsiteX16" fmla="*/ 246718 w 471957"/>
              <a:gd name="connsiteY16" fmla="*/ 365142 h 606635"/>
              <a:gd name="connsiteX17" fmla="*/ 148612 w 471957"/>
              <a:gd name="connsiteY17" fmla="*/ 335534 h 606635"/>
              <a:gd name="connsiteX18" fmla="*/ 15091 w 471957"/>
              <a:gd name="connsiteY18" fmla="*/ 177055 h 606635"/>
              <a:gd name="connsiteX19" fmla="*/ 237429 w 471957"/>
              <a:gd name="connsiteY19" fmla="*/ 0 h 606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1957" h="606635">
                <a:moveTo>
                  <a:pt x="237429" y="0"/>
                </a:moveTo>
                <a:cubicBezTo>
                  <a:pt x="336699" y="0"/>
                  <a:pt x="453381" y="34252"/>
                  <a:pt x="453381" y="97527"/>
                </a:cubicBezTo>
                <a:cubicBezTo>
                  <a:pt x="453381" y="136422"/>
                  <a:pt x="433646" y="160801"/>
                  <a:pt x="397651" y="160801"/>
                </a:cubicBezTo>
                <a:cubicBezTo>
                  <a:pt x="379075" y="160801"/>
                  <a:pt x="362820" y="154414"/>
                  <a:pt x="343665" y="148612"/>
                </a:cubicBezTo>
                <a:cubicBezTo>
                  <a:pt x="316379" y="138165"/>
                  <a:pt x="282712" y="126555"/>
                  <a:pt x="236850" y="126555"/>
                </a:cubicBezTo>
                <a:cubicBezTo>
                  <a:pt x="199118" y="126555"/>
                  <a:pt x="152677" y="141067"/>
                  <a:pt x="152677" y="171253"/>
                </a:cubicBezTo>
                <a:cubicBezTo>
                  <a:pt x="152677" y="197954"/>
                  <a:pt x="173576" y="210149"/>
                  <a:pt x="220017" y="224075"/>
                </a:cubicBezTo>
                <a:lnTo>
                  <a:pt x="329733" y="257748"/>
                </a:lnTo>
                <a:cubicBezTo>
                  <a:pt x="404039" y="280390"/>
                  <a:pt x="471957" y="325088"/>
                  <a:pt x="471957" y="427258"/>
                </a:cubicBezTo>
                <a:cubicBezTo>
                  <a:pt x="471957" y="536395"/>
                  <a:pt x="369787" y="606635"/>
                  <a:pt x="238593" y="606635"/>
                </a:cubicBezTo>
                <a:cubicBezTo>
                  <a:pt x="128871" y="606635"/>
                  <a:pt x="0" y="572389"/>
                  <a:pt x="0" y="509109"/>
                </a:cubicBezTo>
                <a:cubicBezTo>
                  <a:pt x="0" y="470219"/>
                  <a:pt x="22642" y="445835"/>
                  <a:pt x="61532" y="445835"/>
                </a:cubicBezTo>
                <a:cubicBezTo>
                  <a:pt x="81851" y="445835"/>
                  <a:pt x="100428" y="451058"/>
                  <a:pt x="121911" y="458024"/>
                </a:cubicBezTo>
                <a:cubicBezTo>
                  <a:pt x="151513" y="467897"/>
                  <a:pt x="186344" y="480086"/>
                  <a:pt x="239172" y="480086"/>
                </a:cubicBezTo>
                <a:cubicBezTo>
                  <a:pt x="283870" y="480086"/>
                  <a:pt x="334377" y="459767"/>
                  <a:pt x="334377" y="423193"/>
                </a:cubicBezTo>
                <a:lnTo>
                  <a:pt x="333798" y="423193"/>
                </a:lnTo>
                <a:cubicBezTo>
                  <a:pt x="333798" y="393006"/>
                  <a:pt x="295481" y="380238"/>
                  <a:pt x="246718" y="365142"/>
                </a:cubicBezTo>
                <a:lnTo>
                  <a:pt x="148612" y="335534"/>
                </a:lnTo>
                <a:cubicBezTo>
                  <a:pt x="77786" y="314642"/>
                  <a:pt x="15091" y="264714"/>
                  <a:pt x="15091" y="177055"/>
                </a:cubicBezTo>
                <a:cubicBezTo>
                  <a:pt x="15091" y="71984"/>
                  <a:pt x="109716" y="0"/>
                  <a:pt x="237429" y="0"/>
                </a:cubicBezTo>
                <a:close/>
              </a:path>
            </a:pathLst>
          </a:custGeom>
          <a:solidFill>
            <a:schemeClr val="tx1"/>
          </a:solidFill>
        </p:spPr>
        <p:txBody>
          <a:bodyPr wrap="square">
            <a:noAutofit/>
          </a:bodyPr>
          <a:lstStyle>
            <a:lvl1pPr>
              <a:defRPr sz="100"/>
            </a:lvl1pPr>
          </a:lstStyle>
          <a:p>
            <a:pPr lvl="0"/>
            <a:r>
              <a:rPr lang="en-GB"/>
              <a:t> </a:t>
            </a:r>
          </a:p>
        </p:txBody>
      </p:sp>
    </p:spTree>
    <p:extLst>
      <p:ext uri="{BB962C8B-B14F-4D97-AF65-F5344CB8AC3E}">
        <p14:creationId xmlns:p14="http://schemas.microsoft.com/office/powerpoint/2010/main" val="1516797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75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80">
                                            <p:txEl>
                                              <p:pRg st="0" end="0"/>
                                            </p:txEl>
                                          </p:spTgt>
                                        </p:tgtEl>
                                        <p:attrNameLst>
                                          <p:attrName>style.visibility</p:attrName>
                                        </p:attrNameLst>
                                      </p:cBhvr>
                                      <p:to>
                                        <p:strVal val="visible"/>
                                      </p:to>
                                    </p:set>
                                    <p:animEffect transition="in" filter="fade">
                                      <p:cBhvr>
                                        <p:cTn id="15" dur="750"/>
                                        <p:tgtEl>
                                          <p:spTgt spid="80">
                                            <p:txEl>
                                              <p:pRg st="0" end="0"/>
                                            </p:txEl>
                                          </p:spTgt>
                                        </p:tgtEl>
                                      </p:cBhvr>
                                    </p:animEffect>
                                  </p:childTnLst>
                                </p:cTn>
                              </p:par>
                              <p:par>
                                <p:cTn id="16" presetID="53" presetClass="entr" presetSubtype="16" fill="hold" grpId="0" nodeType="withEffect">
                                  <p:stCondLst>
                                    <p:cond delay="0"/>
                                  </p:stCondLst>
                                  <p:childTnLst>
                                    <p:set>
                                      <p:cBhvr>
                                        <p:cTn id="17" dur="1" fill="hold">
                                          <p:stCondLst>
                                            <p:cond delay="0"/>
                                          </p:stCondLst>
                                        </p:cTn>
                                        <p:tgtEl>
                                          <p:spTgt spid="22">
                                            <p:bg/>
                                          </p:spTgt>
                                        </p:tgtEl>
                                        <p:attrNameLst>
                                          <p:attrName>style.visibility</p:attrName>
                                        </p:attrNameLst>
                                      </p:cBhvr>
                                      <p:to>
                                        <p:strVal val="visible"/>
                                      </p:to>
                                    </p:set>
                                    <p:anim calcmode="lin" valueType="num">
                                      <p:cBhvr>
                                        <p:cTn id="18" dur="750" fill="hold"/>
                                        <p:tgtEl>
                                          <p:spTgt spid="22">
                                            <p:bg/>
                                          </p:spTgt>
                                        </p:tgtEl>
                                        <p:attrNameLst>
                                          <p:attrName>ppt_w</p:attrName>
                                        </p:attrNameLst>
                                      </p:cBhvr>
                                      <p:tavLst>
                                        <p:tav tm="0">
                                          <p:val>
                                            <p:fltVal val="0"/>
                                          </p:val>
                                        </p:tav>
                                        <p:tav tm="100000">
                                          <p:val>
                                            <p:strVal val="#ppt_w"/>
                                          </p:val>
                                        </p:tav>
                                      </p:tavLst>
                                    </p:anim>
                                    <p:anim calcmode="lin" valueType="num">
                                      <p:cBhvr>
                                        <p:cTn id="19" dur="750" fill="hold"/>
                                        <p:tgtEl>
                                          <p:spTgt spid="22">
                                            <p:bg/>
                                          </p:spTgt>
                                        </p:tgtEl>
                                        <p:attrNameLst>
                                          <p:attrName>ppt_h</p:attrName>
                                        </p:attrNameLst>
                                      </p:cBhvr>
                                      <p:tavLst>
                                        <p:tav tm="0">
                                          <p:val>
                                            <p:fltVal val="0"/>
                                          </p:val>
                                        </p:tav>
                                        <p:tav tm="100000">
                                          <p:val>
                                            <p:strVal val="#ppt_h"/>
                                          </p:val>
                                        </p:tav>
                                      </p:tavLst>
                                    </p:anim>
                                    <p:animEffect transition="in" filter="fade">
                                      <p:cBhvr>
                                        <p:cTn id="20" dur="750"/>
                                        <p:tgtEl>
                                          <p:spTgt spid="22">
                                            <p:bg/>
                                          </p:spTgt>
                                        </p:tgtEl>
                                      </p:cBhvr>
                                    </p:animEffect>
                                  </p:childTnLst>
                                </p:cTn>
                              </p:par>
                              <p:par>
                                <p:cTn id="21" presetID="53" presetClass="entr" presetSubtype="16" fill="hold" grpId="0" nodeType="withEffect">
                                  <p:stCondLst>
                                    <p:cond delay="0"/>
                                  </p:stCondLst>
                                  <p:childTnLst>
                                    <p:set>
                                      <p:cBhvr>
                                        <p:cTn id="22" dur="1" fill="hold">
                                          <p:stCondLst>
                                            <p:cond delay="0"/>
                                          </p:stCondLst>
                                        </p:cTn>
                                        <p:tgtEl>
                                          <p:spTgt spid="22">
                                            <p:txEl>
                                              <p:pRg st="0" end="0"/>
                                            </p:txEl>
                                          </p:spTgt>
                                        </p:tgtEl>
                                        <p:attrNameLst>
                                          <p:attrName>style.visibility</p:attrName>
                                        </p:attrNameLst>
                                      </p:cBhvr>
                                      <p:to>
                                        <p:strVal val="visible"/>
                                      </p:to>
                                    </p:set>
                                    <p:anim calcmode="lin" valueType="num">
                                      <p:cBhvr>
                                        <p:cTn id="23" dur="750" fill="hold"/>
                                        <p:tgtEl>
                                          <p:spTgt spid="22">
                                            <p:txEl>
                                              <p:pRg st="0" end="0"/>
                                            </p:txEl>
                                          </p:spTgt>
                                        </p:tgtEl>
                                        <p:attrNameLst>
                                          <p:attrName>ppt_w</p:attrName>
                                        </p:attrNameLst>
                                      </p:cBhvr>
                                      <p:tavLst>
                                        <p:tav tm="0">
                                          <p:val>
                                            <p:fltVal val="0"/>
                                          </p:val>
                                        </p:tav>
                                        <p:tav tm="100000">
                                          <p:val>
                                            <p:strVal val="#ppt_w"/>
                                          </p:val>
                                        </p:tav>
                                      </p:tavLst>
                                    </p:anim>
                                    <p:anim calcmode="lin" valueType="num">
                                      <p:cBhvr>
                                        <p:cTn id="24" dur="75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25" dur="750"/>
                                        <p:tgtEl>
                                          <p:spTgt spid="22">
                                            <p:txEl>
                                              <p:pRg st="0" end="0"/>
                                            </p:txEl>
                                          </p:spTgt>
                                        </p:tgtEl>
                                      </p:cBhvr>
                                    </p:animEffect>
                                  </p:childTnLst>
                                </p:cTn>
                              </p:par>
                            </p:childTnLst>
                          </p:cTn>
                        </p:par>
                        <p:par>
                          <p:cTn id="26" fill="hold">
                            <p:stCondLst>
                              <p:cond delay="2250"/>
                            </p:stCondLst>
                            <p:childTnLst>
                              <p:par>
                                <p:cTn id="27" presetID="12" presetClass="entr" presetSubtype="4" fill="hold" grpId="0" nodeType="afterEffect">
                                  <p:stCondLst>
                                    <p:cond delay="0"/>
                                  </p:stCondLst>
                                  <p:childTnLst>
                                    <p:set>
                                      <p:cBhvr>
                                        <p:cTn id="28" dur="1" fill="hold">
                                          <p:stCondLst>
                                            <p:cond delay="0"/>
                                          </p:stCondLst>
                                        </p:cTn>
                                        <p:tgtEl>
                                          <p:spTgt spid="26"/>
                                        </p:tgtEl>
                                        <p:attrNameLst>
                                          <p:attrName>style.visibility</p:attrName>
                                        </p:attrNameLst>
                                      </p:cBhvr>
                                      <p:to>
                                        <p:strVal val="visible"/>
                                      </p:to>
                                    </p:set>
                                    <p:anim calcmode="lin" valueType="num">
                                      <p:cBhvr additive="base">
                                        <p:cTn id="29" dur="750"/>
                                        <p:tgtEl>
                                          <p:spTgt spid="26"/>
                                        </p:tgtEl>
                                        <p:attrNameLst>
                                          <p:attrName>ppt_y</p:attrName>
                                        </p:attrNameLst>
                                      </p:cBhvr>
                                      <p:tavLst>
                                        <p:tav tm="0">
                                          <p:val>
                                            <p:strVal val="#ppt_y+#ppt_h*1.125000"/>
                                          </p:val>
                                        </p:tav>
                                        <p:tav tm="100000">
                                          <p:val>
                                            <p:strVal val="#ppt_y"/>
                                          </p:val>
                                        </p:tav>
                                      </p:tavLst>
                                    </p:anim>
                                    <p:animEffect transition="in" filter="wipe(up)">
                                      <p:cBhvr>
                                        <p:cTn id="30" dur="750"/>
                                        <p:tgtEl>
                                          <p:spTgt spid="26"/>
                                        </p:tgtEl>
                                      </p:cBhvr>
                                    </p:animEffect>
                                  </p:childTnLst>
                                </p:cTn>
                              </p:par>
                              <p:par>
                                <p:cTn id="31" presetID="12" presetClass="entr" presetSubtype="4" fill="hold" grpId="0" nodeType="withEffect">
                                  <p:stCondLst>
                                    <p:cond delay="250"/>
                                  </p:stCondLst>
                                  <p:childTnLst>
                                    <p:set>
                                      <p:cBhvr>
                                        <p:cTn id="32" dur="1" fill="hold">
                                          <p:stCondLst>
                                            <p:cond delay="0"/>
                                          </p:stCondLst>
                                        </p:cTn>
                                        <p:tgtEl>
                                          <p:spTgt spid="25"/>
                                        </p:tgtEl>
                                        <p:attrNameLst>
                                          <p:attrName>style.visibility</p:attrName>
                                        </p:attrNameLst>
                                      </p:cBhvr>
                                      <p:to>
                                        <p:strVal val="visible"/>
                                      </p:to>
                                    </p:set>
                                    <p:anim calcmode="lin" valueType="num">
                                      <p:cBhvr additive="base">
                                        <p:cTn id="33" dur="750"/>
                                        <p:tgtEl>
                                          <p:spTgt spid="25"/>
                                        </p:tgtEl>
                                        <p:attrNameLst>
                                          <p:attrName>ppt_y</p:attrName>
                                        </p:attrNameLst>
                                      </p:cBhvr>
                                      <p:tavLst>
                                        <p:tav tm="0">
                                          <p:val>
                                            <p:strVal val="#ppt_y+#ppt_h*1.125000"/>
                                          </p:val>
                                        </p:tav>
                                        <p:tav tm="100000">
                                          <p:val>
                                            <p:strVal val="#ppt_y"/>
                                          </p:val>
                                        </p:tav>
                                      </p:tavLst>
                                    </p:anim>
                                    <p:animEffect transition="in" filter="wipe(up)">
                                      <p:cBhvr>
                                        <p:cTn id="34" dur="750"/>
                                        <p:tgtEl>
                                          <p:spTgt spid="25"/>
                                        </p:tgtEl>
                                      </p:cBhvr>
                                    </p:animEffect>
                                  </p:childTnLst>
                                </p:cTn>
                              </p:par>
                              <p:par>
                                <p:cTn id="35" presetID="12" presetClass="entr" presetSubtype="4" fill="hold" grpId="0" nodeType="withEffect">
                                  <p:stCondLst>
                                    <p:cond delay="500"/>
                                  </p:stCondLst>
                                  <p:childTnLst>
                                    <p:set>
                                      <p:cBhvr>
                                        <p:cTn id="36" dur="1" fill="hold">
                                          <p:stCondLst>
                                            <p:cond delay="0"/>
                                          </p:stCondLst>
                                        </p:cTn>
                                        <p:tgtEl>
                                          <p:spTgt spid="24"/>
                                        </p:tgtEl>
                                        <p:attrNameLst>
                                          <p:attrName>style.visibility</p:attrName>
                                        </p:attrNameLst>
                                      </p:cBhvr>
                                      <p:to>
                                        <p:strVal val="visible"/>
                                      </p:to>
                                    </p:set>
                                    <p:anim calcmode="lin" valueType="num">
                                      <p:cBhvr additive="base">
                                        <p:cTn id="37" dur="750"/>
                                        <p:tgtEl>
                                          <p:spTgt spid="24"/>
                                        </p:tgtEl>
                                        <p:attrNameLst>
                                          <p:attrName>ppt_y</p:attrName>
                                        </p:attrNameLst>
                                      </p:cBhvr>
                                      <p:tavLst>
                                        <p:tav tm="0">
                                          <p:val>
                                            <p:strVal val="#ppt_y+#ppt_h*1.125000"/>
                                          </p:val>
                                        </p:tav>
                                        <p:tav tm="100000">
                                          <p:val>
                                            <p:strVal val="#ppt_y"/>
                                          </p:val>
                                        </p:tav>
                                      </p:tavLst>
                                    </p:anim>
                                    <p:animEffect transition="in" filter="wipe(up)">
                                      <p:cBhvr>
                                        <p:cTn id="38" dur="750"/>
                                        <p:tgtEl>
                                          <p:spTgt spid="24"/>
                                        </p:tgtEl>
                                      </p:cBhvr>
                                    </p:animEffect>
                                  </p:childTnLst>
                                </p:cTn>
                              </p:par>
                              <p:par>
                                <p:cTn id="39" presetID="12" presetClass="entr" presetSubtype="4" fill="hold" grpId="0" nodeType="withEffect">
                                  <p:stCondLst>
                                    <p:cond delay="750"/>
                                  </p:stCondLst>
                                  <p:childTnLst>
                                    <p:set>
                                      <p:cBhvr>
                                        <p:cTn id="40" dur="1" fill="hold">
                                          <p:stCondLst>
                                            <p:cond delay="0"/>
                                          </p:stCondLst>
                                        </p:cTn>
                                        <p:tgtEl>
                                          <p:spTgt spid="23"/>
                                        </p:tgtEl>
                                        <p:attrNameLst>
                                          <p:attrName>style.visibility</p:attrName>
                                        </p:attrNameLst>
                                      </p:cBhvr>
                                      <p:to>
                                        <p:strVal val="visible"/>
                                      </p:to>
                                    </p:set>
                                    <p:anim calcmode="lin" valueType="num">
                                      <p:cBhvr additive="base">
                                        <p:cTn id="41" dur="750"/>
                                        <p:tgtEl>
                                          <p:spTgt spid="23"/>
                                        </p:tgtEl>
                                        <p:attrNameLst>
                                          <p:attrName>ppt_y</p:attrName>
                                        </p:attrNameLst>
                                      </p:cBhvr>
                                      <p:tavLst>
                                        <p:tav tm="0">
                                          <p:val>
                                            <p:strVal val="#ppt_y+#ppt_h*1.125000"/>
                                          </p:val>
                                        </p:tav>
                                        <p:tav tm="100000">
                                          <p:val>
                                            <p:strVal val="#ppt_y"/>
                                          </p:val>
                                        </p:tav>
                                      </p:tavLst>
                                    </p:anim>
                                    <p:animEffect transition="in" filter="wipe(up)">
                                      <p:cBhvr>
                                        <p:cTn id="42" dur="75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build="p" animBg="1">
        <p:tmplLst>
          <p:tmpl>
            <p:tnLst>
              <p:par>
                <p:cTn presetID="53" presetClass="entr" presetSubtype="16"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750" fill="hold"/>
                        <p:tgtEl>
                          <p:spTgt spid="22"/>
                        </p:tgtEl>
                        <p:attrNameLst>
                          <p:attrName>ppt_w</p:attrName>
                        </p:attrNameLst>
                      </p:cBhvr>
                      <p:tavLst>
                        <p:tav tm="0">
                          <p:val>
                            <p:fltVal val="0"/>
                          </p:val>
                        </p:tav>
                        <p:tav tm="100000">
                          <p:val>
                            <p:strVal val="#ppt_w"/>
                          </p:val>
                        </p:tav>
                      </p:tavLst>
                    </p:anim>
                    <p:anim calcmode="lin" valueType="num">
                      <p:cBhvr>
                        <p:cTn dur="750" fill="hold"/>
                        <p:tgtEl>
                          <p:spTgt spid="22"/>
                        </p:tgtEl>
                        <p:attrNameLst>
                          <p:attrName>ppt_h</p:attrName>
                        </p:attrNameLst>
                      </p:cBhvr>
                      <p:tavLst>
                        <p:tav tm="0">
                          <p:val>
                            <p:fltVal val="0"/>
                          </p:val>
                        </p:tav>
                        <p:tav tm="100000">
                          <p:val>
                            <p:strVal val="#ppt_h"/>
                          </p:val>
                        </p:tav>
                      </p:tavLst>
                    </p:anim>
                    <p:animEffect transition="in" filter="fade">
                      <p:cBhvr>
                        <p:cTn dur="750"/>
                        <p:tgtEl>
                          <p:spTgt spid="22"/>
                        </p:tgtEl>
                      </p:cBhvr>
                    </p:animEffect>
                  </p:childTnLst>
                </p:cTn>
              </p:par>
            </p:tnLst>
          </p:tmpl>
          <p:tmpl lvl="1">
            <p:tnLst>
              <p:par>
                <p:cTn presetID="53" presetClass="entr" presetSubtype="16"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750" fill="hold"/>
                        <p:tgtEl>
                          <p:spTgt spid="22"/>
                        </p:tgtEl>
                        <p:attrNameLst>
                          <p:attrName>ppt_w</p:attrName>
                        </p:attrNameLst>
                      </p:cBhvr>
                      <p:tavLst>
                        <p:tav tm="0">
                          <p:val>
                            <p:fltVal val="0"/>
                          </p:val>
                        </p:tav>
                        <p:tav tm="100000">
                          <p:val>
                            <p:strVal val="#ppt_w"/>
                          </p:val>
                        </p:tav>
                      </p:tavLst>
                    </p:anim>
                    <p:anim calcmode="lin" valueType="num">
                      <p:cBhvr>
                        <p:cTn dur="750" fill="hold"/>
                        <p:tgtEl>
                          <p:spTgt spid="22"/>
                        </p:tgtEl>
                        <p:attrNameLst>
                          <p:attrName>ppt_h</p:attrName>
                        </p:attrNameLst>
                      </p:cBhvr>
                      <p:tavLst>
                        <p:tav tm="0">
                          <p:val>
                            <p:fltVal val="0"/>
                          </p:val>
                        </p:tav>
                        <p:tav tm="100000">
                          <p:val>
                            <p:strVal val="#ppt_h"/>
                          </p:val>
                        </p:tav>
                      </p:tavLst>
                    </p:anim>
                    <p:animEffect transition="in" filter="fade">
                      <p:cBhvr>
                        <p:cTn dur="750"/>
                        <p:tgtEl>
                          <p:spTgt spid="22"/>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P spid="80" grpId="0" build="p"/>
      <p:bldP spid="9" grpId="0">
        <p:tmplLst>
          <p:tmpl>
            <p:tnLst>
              <p:par>
                <p:cTn presetID="10"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23" grpId="0" animBg="1">
        <p:tmplLst>
          <p:tmpl>
            <p:tnLst>
              <p:par>
                <p:cTn presetID="12" presetClass="entr" presetSubtype="4" fill="hold" nodeType="withEffect">
                  <p:stCondLst>
                    <p:cond delay="750"/>
                  </p:stCondLst>
                  <p:childTnLst>
                    <p:set>
                      <p:cBhvr>
                        <p:cTn dur="1" fill="hold">
                          <p:stCondLst>
                            <p:cond delay="0"/>
                          </p:stCondLst>
                        </p:cTn>
                        <p:tgtEl>
                          <p:spTgt spid="23"/>
                        </p:tgtEl>
                        <p:attrNameLst>
                          <p:attrName>style.visibility</p:attrName>
                        </p:attrNameLst>
                      </p:cBhvr>
                      <p:to>
                        <p:strVal val="visible"/>
                      </p:to>
                    </p:set>
                    <p:anim calcmode="lin" valueType="num">
                      <p:cBhvr additive="base">
                        <p:cTn dur="750"/>
                        <p:tgtEl>
                          <p:spTgt spid="23"/>
                        </p:tgtEl>
                        <p:attrNameLst>
                          <p:attrName>ppt_y</p:attrName>
                        </p:attrNameLst>
                      </p:cBhvr>
                      <p:tavLst>
                        <p:tav tm="0">
                          <p:val>
                            <p:strVal val="#ppt_y+#ppt_h*1.125000"/>
                          </p:val>
                        </p:tav>
                        <p:tav tm="100000">
                          <p:val>
                            <p:strVal val="#ppt_y"/>
                          </p:val>
                        </p:tav>
                      </p:tavLst>
                    </p:anim>
                    <p:animEffect transition="in" filter="wipe(up)">
                      <p:cBhvr>
                        <p:cTn dur="750"/>
                        <p:tgtEl>
                          <p:spTgt spid="23"/>
                        </p:tgtEl>
                      </p:cBhvr>
                    </p:animEffect>
                  </p:childTnLst>
                </p:cTn>
              </p:par>
            </p:tnLst>
          </p:tmpl>
        </p:tmplLst>
      </p:bldP>
      <p:bldP spid="24" grpId="0" animBg="1">
        <p:tmplLst>
          <p:tmpl>
            <p:tnLst>
              <p:par>
                <p:cTn presetID="12" presetClass="entr" presetSubtype="4" fill="hold" nodeType="withEffect">
                  <p:stCondLst>
                    <p:cond delay="500"/>
                  </p:stCondLst>
                  <p:childTnLst>
                    <p:set>
                      <p:cBhvr>
                        <p:cTn dur="1" fill="hold">
                          <p:stCondLst>
                            <p:cond delay="0"/>
                          </p:stCondLst>
                        </p:cTn>
                        <p:tgtEl>
                          <p:spTgt spid="24"/>
                        </p:tgtEl>
                        <p:attrNameLst>
                          <p:attrName>style.visibility</p:attrName>
                        </p:attrNameLst>
                      </p:cBhvr>
                      <p:to>
                        <p:strVal val="visible"/>
                      </p:to>
                    </p:set>
                    <p:anim calcmode="lin" valueType="num">
                      <p:cBhvr additive="base">
                        <p:cTn dur="750"/>
                        <p:tgtEl>
                          <p:spTgt spid="24"/>
                        </p:tgtEl>
                        <p:attrNameLst>
                          <p:attrName>ppt_y</p:attrName>
                        </p:attrNameLst>
                      </p:cBhvr>
                      <p:tavLst>
                        <p:tav tm="0">
                          <p:val>
                            <p:strVal val="#ppt_y+#ppt_h*1.125000"/>
                          </p:val>
                        </p:tav>
                        <p:tav tm="100000">
                          <p:val>
                            <p:strVal val="#ppt_y"/>
                          </p:val>
                        </p:tav>
                      </p:tavLst>
                    </p:anim>
                    <p:animEffect transition="in" filter="wipe(up)">
                      <p:cBhvr>
                        <p:cTn dur="750"/>
                        <p:tgtEl>
                          <p:spTgt spid="24"/>
                        </p:tgtEl>
                      </p:cBhvr>
                    </p:animEffect>
                  </p:childTnLst>
                </p:cTn>
              </p:par>
            </p:tnLst>
          </p:tmpl>
        </p:tmplLst>
      </p:bldP>
      <p:bldP spid="25" grpId="0" animBg="1">
        <p:tmplLst>
          <p:tmpl>
            <p:tnLst>
              <p:par>
                <p:cTn presetID="12" presetClass="entr" presetSubtype="4" fill="hold" nodeType="withEffect">
                  <p:stCondLst>
                    <p:cond delay="250"/>
                  </p:stCondLst>
                  <p:childTnLst>
                    <p:set>
                      <p:cBhvr>
                        <p:cTn dur="1" fill="hold">
                          <p:stCondLst>
                            <p:cond delay="0"/>
                          </p:stCondLst>
                        </p:cTn>
                        <p:tgtEl>
                          <p:spTgt spid="25"/>
                        </p:tgtEl>
                        <p:attrNameLst>
                          <p:attrName>style.visibility</p:attrName>
                        </p:attrNameLst>
                      </p:cBhvr>
                      <p:to>
                        <p:strVal val="visible"/>
                      </p:to>
                    </p:set>
                    <p:anim calcmode="lin" valueType="num">
                      <p:cBhvr additive="base">
                        <p:cTn dur="750"/>
                        <p:tgtEl>
                          <p:spTgt spid="25"/>
                        </p:tgtEl>
                        <p:attrNameLst>
                          <p:attrName>ppt_y</p:attrName>
                        </p:attrNameLst>
                      </p:cBhvr>
                      <p:tavLst>
                        <p:tav tm="0">
                          <p:val>
                            <p:strVal val="#ppt_y+#ppt_h*1.125000"/>
                          </p:val>
                        </p:tav>
                        <p:tav tm="100000">
                          <p:val>
                            <p:strVal val="#ppt_y"/>
                          </p:val>
                        </p:tav>
                      </p:tavLst>
                    </p:anim>
                    <p:animEffect transition="in" filter="wipe(up)">
                      <p:cBhvr>
                        <p:cTn dur="750"/>
                        <p:tgtEl>
                          <p:spTgt spid="25"/>
                        </p:tgtEl>
                      </p:cBhvr>
                    </p:animEffect>
                  </p:childTnLst>
                </p:cTn>
              </p:par>
            </p:tnLst>
          </p:tmpl>
        </p:tmplLst>
      </p:bldP>
      <p:bldP spid="26" grpId="0" animBg="1">
        <p:tmplLst>
          <p:tmpl>
            <p:tnLst>
              <p:par>
                <p:cTn presetID="12" presetClass="entr" presetSubtype="4"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 calcmode="lin" valueType="num">
                      <p:cBhvr additive="base">
                        <p:cTn dur="750"/>
                        <p:tgtEl>
                          <p:spTgt spid="26"/>
                        </p:tgtEl>
                        <p:attrNameLst>
                          <p:attrName>ppt_y</p:attrName>
                        </p:attrNameLst>
                      </p:cBhvr>
                      <p:tavLst>
                        <p:tav tm="0">
                          <p:val>
                            <p:strVal val="#ppt_y+#ppt_h*1.125000"/>
                          </p:val>
                        </p:tav>
                        <p:tav tm="100000">
                          <p:val>
                            <p:strVal val="#ppt_y"/>
                          </p:val>
                        </p:tav>
                      </p:tavLst>
                    </p:anim>
                    <p:animEffect transition="in" filter="wipe(up)">
                      <p:cBhvr>
                        <p:cTn dur="750"/>
                        <p:tgtEl>
                          <p:spTgt spid="26"/>
                        </p:tgtEl>
                      </p:cBhvr>
                    </p:animEffect>
                  </p:childTnLst>
                </p:cTn>
              </p:par>
            </p:tnLst>
          </p:tmpl>
        </p:tmplLst>
      </p:bldP>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slide with title and tex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906063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6" name="Objek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84A35D7-CD47-4B32-AB58-27AC3849869F}"/>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400" b="0" i="0" baseline="0">
              <a:latin typeface="Arial" panose="020B0604020202020204" pitchFamily="34" charset="0"/>
              <a:ea typeface="+mj-ea"/>
              <a:cs typeface="+mj-cs"/>
              <a:sym typeface="Arial" panose="020B0604020202020204" pitchFamily="34" charset="0"/>
            </a:endParaRPr>
          </a:p>
        </p:txBody>
      </p:sp>
      <p:sp>
        <p:nvSpPr>
          <p:cNvPr id="3" name="Datumsplatzhalter 2"/>
          <p:cNvSpPr>
            <a:spLocks noGrp="1"/>
          </p:cNvSpPr>
          <p:nvPr>
            <p:ph type="dt" sz="half" idx="10"/>
          </p:nvPr>
        </p:nvSpPr>
        <p:spPr/>
        <p:txBody>
          <a:bodyPr/>
          <a:lstStyle/>
          <a:p>
            <a:fld id="{54592CE2-9E9F-4C00-BDD9-2EF568882D0C}" type="datetime2">
              <a:rPr lang="en-GB" smtClean="0"/>
              <a:t>Tuesday, 3 June 2025</a:t>
            </a:fld>
            <a:endParaRPr lang="en-GB"/>
          </a:p>
        </p:txBody>
      </p:sp>
      <p:sp>
        <p:nvSpPr>
          <p:cNvPr id="4" name="Fußzeilenplatzhalter 3"/>
          <p:cNvSpPr>
            <a:spLocks noGrp="1"/>
          </p:cNvSpPr>
          <p:nvPr>
            <p:ph type="ftr" sz="quarter" idx="11"/>
          </p:nvPr>
        </p:nvSpPr>
        <p:spPr/>
        <p:txBody>
          <a:bodyPr anchor="b"/>
          <a:lstStyle/>
          <a:p>
            <a:r>
              <a:rPr lang="cs-CZ"/>
              <a:t>CTU – </a:t>
            </a:r>
            <a:r>
              <a:rPr lang="cs-CZ" err="1"/>
              <a:t>Administrative</a:t>
            </a:r>
            <a:r>
              <a:rPr lang="cs-CZ"/>
              <a:t> Status – „</a:t>
            </a:r>
            <a:r>
              <a:rPr lang="cs-CZ" err="1"/>
              <a:t>Manual</a:t>
            </a:r>
            <a:r>
              <a:rPr lang="cs-CZ"/>
              <a:t>“ </a:t>
            </a:r>
            <a:r>
              <a:rPr lang="cs-CZ" err="1"/>
              <a:t>Course</a:t>
            </a:r>
            <a:r>
              <a:rPr lang="cs-CZ"/>
              <a:t> </a:t>
            </a:r>
            <a:r>
              <a:rPr lang="cs-CZ" err="1"/>
              <a:t>Catalogue</a:t>
            </a:r>
            <a:endParaRPr lang="en-GB"/>
          </a:p>
        </p:txBody>
      </p:sp>
      <p:sp>
        <p:nvSpPr>
          <p:cNvPr id="5" name="Foliennummernplatzhalter 4"/>
          <p:cNvSpPr>
            <a:spLocks noGrp="1"/>
          </p:cNvSpPr>
          <p:nvPr>
            <p:ph type="sldNum" sz="quarter" idx="12"/>
          </p:nvPr>
        </p:nvSpPr>
        <p:spPr/>
        <p:txBody>
          <a:bodyPr/>
          <a:lstStyle>
            <a:lvl1pPr>
              <a:defRPr sz="1400"/>
            </a:lvl1pPr>
          </a:lstStyle>
          <a:p>
            <a:fld id="{5EB1DA36-398A-44AC-AE54-7298A745E658}" type="slidenum">
              <a:rPr lang="en-GB" smtClean="0"/>
              <a:pPr/>
              <a:t>‹#›</a:t>
            </a:fld>
            <a:endParaRPr lang="en-GB"/>
          </a:p>
        </p:txBody>
      </p:sp>
      <p:sp>
        <p:nvSpPr>
          <p:cNvPr id="7" name="Inhaltsplatzhalter 6"/>
          <p:cNvSpPr>
            <a:spLocks noGrp="1"/>
          </p:cNvSpPr>
          <p:nvPr>
            <p:ph sz="quarter" idx="13" hasCustomPrompt="1"/>
          </p:nvPr>
        </p:nvSpPr>
        <p:spPr>
          <a:xfrm>
            <a:off x="334800" y="1525658"/>
            <a:ext cx="11520000" cy="4842741"/>
          </a:xfrm>
        </p:spPr>
        <p:txBody>
          <a:bodyPr>
            <a:noAutofit/>
          </a:bodyPr>
          <a:lstStyle>
            <a:lvl1pPr>
              <a:defRPr/>
            </a:lvl1pPr>
          </a:lstStyle>
          <a:p>
            <a:pPr marL="180000" marR="0" lvl="0" indent="-180000" algn="l" defTabSz="914400" rtl="0" eaLnBrk="1" fontAlgn="auto" latinLnBrk="0" hangingPunct="1">
              <a:lnSpc>
                <a:spcPct val="100000"/>
              </a:lnSpc>
              <a:spcBef>
                <a:spcPts val="0"/>
              </a:spcBef>
              <a:spcAft>
                <a:spcPts val="0"/>
              </a:spcAft>
              <a:buClr>
                <a:srgbClr val="484848">
                  <a:lumMod val="60000"/>
                  <a:lumOff val="40000"/>
                </a:srgbClr>
              </a:buClr>
              <a:buSzTx/>
              <a:buFont typeface="Symbol" panose="05050102010706020507" pitchFamily="18" charset="2"/>
              <a:buChar char="-"/>
              <a:tabLst/>
              <a:defRPr/>
            </a:pPr>
            <a:r>
              <a:rPr kumimoji="0" lang="en-GB" sz="1600" b="0" i="0" u="none" strike="noStrike" kern="1200" cap="none" spc="0" normalizeH="0" baseline="0" noProof="0">
                <a:ln>
                  <a:noFill/>
                </a:ln>
                <a:solidFill>
                  <a:srgbClr val="484848"/>
                </a:solidFill>
                <a:effectLst/>
                <a:uLnTx/>
                <a:uFillTx/>
                <a:latin typeface="Arial"/>
                <a:ea typeface="+mn-ea"/>
                <a:cs typeface="+mn-cs"/>
              </a:rPr>
              <a:t>First level</a:t>
            </a:r>
          </a:p>
          <a:p>
            <a:pPr marL="360000" marR="0" lvl="1" indent="-180000" algn="l" defTabSz="914400" rtl="0" eaLnBrk="1" fontAlgn="auto" latinLnBrk="0" hangingPunct="1">
              <a:lnSpc>
                <a:spcPct val="100000"/>
              </a:lnSpc>
              <a:spcBef>
                <a:spcPts val="0"/>
              </a:spcBef>
              <a:spcAft>
                <a:spcPts val="0"/>
              </a:spcAft>
              <a:buClr>
                <a:srgbClr val="484848">
                  <a:lumMod val="60000"/>
                  <a:lumOff val="40000"/>
                </a:srgbClr>
              </a:buClr>
              <a:buSzTx/>
              <a:buFont typeface="Symbol" panose="05050102010706020507" pitchFamily="18" charset="2"/>
              <a:buChar char="-"/>
              <a:tabLst/>
              <a:defRPr/>
            </a:pPr>
            <a:r>
              <a:rPr kumimoji="0" lang="en-GB" sz="1600" b="0" i="0" u="none" strike="noStrike" kern="1200" cap="none" spc="0" normalizeH="0" baseline="0" noProof="0">
                <a:ln>
                  <a:noFill/>
                </a:ln>
                <a:solidFill>
                  <a:srgbClr val="484848"/>
                </a:solidFill>
                <a:effectLst/>
                <a:uLnTx/>
                <a:uFillTx/>
                <a:latin typeface="Arial"/>
                <a:ea typeface="+mn-ea"/>
                <a:cs typeface="+mn-cs"/>
              </a:rPr>
              <a:t>Second level</a:t>
            </a:r>
          </a:p>
          <a:p>
            <a:pPr marL="540000" marR="0" lvl="2" indent="-180000" algn="l" defTabSz="914400" rtl="0" eaLnBrk="1" fontAlgn="auto" latinLnBrk="0" hangingPunct="1">
              <a:lnSpc>
                <a:spcPct val="100000"/>
              </a:lnSpc>
              <a:spcBef>
                <a:spcPts val="0"/>
              </a:spcBef>
              <a:spcAft>
                <a:spcPts val="0"/>
              </a:spcAft>
              <a:buClr>
                <a:srgbClr val="484848">
                  <a:lumMod val="60000"/>
                  <a:lumOff val="40000"/>
                </a:srgbClr>
              </a:buClr>
              <a:buSzTx/>
              <a:buFont typeface="Symbol" panose="05050102010706020507" pitchFamily="18" charset="2"/>
              <a:buChar char="-"/>
              <a:tabLst/>
              <a:defRPr/>
            </a:pPr>
            <a:r>
              <a:rPr kumimoji="0" lang="en-GB" sz="1600" b="0" i="0" u="none" strike="noStrike" kern="1200" cap="none" spc="0" normalizeH="0" baseline="0" noProof="0">
                <a:ln>
                  <a:noFill/>
                </a:ln>
                <a:solidFill>
                  <a:srgbClr val="484848"/>
                </a:solidFill>
                <a:effectLst/>
                <a:uLnTx/>
                <a:uFillTx/>
                <a:latin typeface="Arial"/>
                <a:ea typeface="+mn-ea"/>
                <a:cs typeface="+mn-cs"/>
              </a:rPr>
              <a:t>Third level</a:t>
            </a:r>
          </a:p>
          <a:p>
            <a:pPr marL="720000" marR="0" lvl="3" indent="-180000" algn="l" defTabSz="914400" rtl="0" eaLnBrk="1" fontAlgn="auto" latinLnBrk="0" hangingPunct="1">
              <a:lnSpc>
                <a:spcPct val="100000"/>
              </a:lnSpc>
              <a:spcBef>
                <a:spcPts val="0"/>
              </a:spcBef>
              <a:spcAft>
                <a:spcPts val="0"/>
              </a:spcAft>
              <a:buClr>
                <a:srgbClr val="484848">
                  <a:lumMod val="60000"/>
                  <a:lumOff val="40000"/>
                </a:srgbClr>
              </a:buClr>
              <a:buSzTx/>
              <a:buFont typeface="Symbol" panose="05050102010706020507" pitchFamily="18" charset="2"/>
              <a:buChar char="-"/>
              <a:tabLst/>
              <a:defRPr/>
            </a:pPr>
            <a:r>
              <a:rPr kumimoji="0" lang="en-GB" sz="1600" b="0" i="0" u="none" strike="noStrike" kern="1200" cap="none" spc="0" normalizeH="0" baseline="0" noProof="0">
                <a:ln>
                  <a:noFill/>
                </a:ln>
                <a:solidFill>
                  <a:srgbClr val="484848"/>
                </a:solidFill>
                <a:effectLst/>
                <a:uLnTx/>
                <a:uFillTx/>
                <a:latin typeface="Arial"/>
                <a:ea typeface="+mn-ea"/>
                <a:cs typeface="+mn-cs"/>
              </a:rPr>
              <a:t>Fourth level</a:t>
            </a:r>
          </a:p>
          <a:p>
            <a:pPr marL="900000" marR="0" lvl="4" indent="-180000" algn="l" defTabSz="914400" rtl="0" eaLnBrk="1" fontAlgn="auto" latinLnBrk="0" hangingPunct="1">
              <a:lnSpc>
                <a:spcPct val="100000"/>
              </a:lnSpc>
              <a:spcBef>
                <a:spcPts val="0"/>
              </a:spcBef>
              <a:spcAft>
                <a:spcPts val="0"/>
              </a:spcAft>
              <a:buClr>
                <a:srgbClr val="484848">
                  <a:lumMod val="60000"/>
                  <a:lumOff val="40000"/>
                </a:srgbClr>
              </a:buClr>
              <a:buSzTx/>
              <a:buFont typeface="Symbol" panose="05050102010706020507" pitchFamily="18" charset="2"/>
              <a:buChar char="-"/>
              <a:tabLst/>
              <a:defRPr/>
            </a:pPr>
            <a:r>
              <a:rPr kumimoji="0" lang="en-GB" sz="1600" b="0" i="0" u="none" strike="noStrike" kern="1200" cap="none" spc="0" normalizeH="0" baseline="0" noProof="0">
                <a:ln>
                  <a:noFill/>
                </a:ln>
                <a:solidFill>
                  <a:srgbClr val="484848"/>
                </a:solidFill>
                <a:effectLst/>
                <a:uLnTx/>
                <a:uFillTx/>
                <a:latin typeface="Arial"/>
                <a:ea typeface="+mn-ea"/>
                <a:cs typeface="+mn-cs"/>
              </a:rPr>
              <a:t>Fifth level</a:t>
            </a:r>
          </a:p>
        </p:txBody>
      </p:sp>
      <p:sp>
        <p:nvSpPr>
          <p:cNvPr id="41" name="Textplatzhalter 40"/>
          <p:cNvSpPr>
            <a:spLocks noGrp="1"/>
          </p:cNvSpPr>
          <p:nvPr>
            <p:ph type="body" sz="quarter" idx="14" hasCustomPrompt="1"/>
          </p:nvPr>
        </p:nvSpPr>
        <p:spPr>
          <a:xfrm>
            <a:off x="334964" y="6616700"/>
            <a:ext cx="4224338" cy="122238"/>
          </a:xfrm>
        </p:spPr>
        <p:txBody>
          <a:bodyPr anchor="b">
            <a:noAutofit/>
          </a:bodyPr>
          <a:lstStyle>
            <a:lvl1pPr marL="0" indent="0">
              <a:lnSpc>
                <a:spcPct val="100000"/>
              </a:lnSpc>
              <a:spcBef>
                <a:spcPts val="0"/>
              </a:spcBef>
              <a:buFont typeface="Arial" panose="020B0604020202020204" pitchFamily="34" charset="0"/>
              <a:buNone/>
              <a:defRPr sz="800">
                <a:solidFill>
                  <a:schemeClr val="tx2"/>
                </a:solidFill>
              </a:defRPr>
            </a:lvl1pPr>
            <a:lvl2pPr marL="180000" indent="0">
              <a:buFont typeface="Arial" panose="020B0604020202020204" pitchFamily="34" charset="0"/>
              <a:buNone/>
              <a:defRPr sz="800">
                <a:solidFill>
                  <a:schemeClr val="tx2"/>
                </a:solidFill>
              </a:defRPr>
            </a:lvl2pPr>
            <a:lvl3pPr marL="360000" indent="0">
              <a:buFont typeface="Arial" panose="020B0604020202020204" pitchFamily="34" charset="0"/>
              <a:buNone/>
              <a:defRPr sz="800">
                <a:solidFill>
                  <a:schemeClr val="tx2"/>
                </a:solidFill>
              </a:defRPr>
            </a:lvl3pPr>
            <a:lvl4pPr marL="540000" indent="0">
              <a:buFont typeface="Arial" panose="020B0604020202020204" pitchFamily="34" charset="0"/>
              <a:buNone/>
              <a:defRPr sz="800">
                <a:solidFill>
                  <a:schemeClr val="tx2"/>
                </a:solidFill>
              </a:defRPr>
            </a:lvl4pPr>
            <a:lvl5pPr marL="720000" indent="0">
              <a:buFont typeface="Arial" panose="020B0604020202020204" pitchFamily="34" charset="0"/>
              <a:buNone/>
              <a:defRPr sz="800">
                <a:solidFill>
                  <a:schemeClr val="tx2"/>
                </a:solidFill>
              </a:defRPr>
            </a:lvl5pPr>
          </a:lstStyle>
          <a:p>
            <a:pPr lvl="0"/>
            <a:r>
              <a:rPr lang="en-GB"/>
              <a:t>Footnote</a:t>
            </a:r>
          </a:p>
        </p:txBody>
      </p:sp>
      <p:sp>
        <p:nvSpPr>
          <p:cNvPr id="43" name="Textplatzhalter 42"/>
          <p:cNvSpPr>
            <a:spLocks noGrp="1"/>
          </p:cNvSpPr>
          <p:nvPr>
            <p:ph type="body" sz="quarter" idx="15" hasCustomPrompt="1"/>
          </p:nvPr>
        </p:nvSpPr>
        <p:spPr>
          <a:xfrm>
            <a:off x="338400" y="0"/>
            <a:ext cx="9720000" cy="266400"/>
          </a:xfrm>
        </p:spPr>
        <p:txBody>
          <a:bodyPr tIns="72000"/>
          <a:lstStyle>
            <a:lvl1pPr marL="0" indent="0">
              <a:buFont typeface="Arial" panose="020B0604020202020204" pitchFamily="34" charset="0"/>
              <a:buNone/>
              <a:defRPr sz="1400" baseline="0">
                <a:solidFill>
                  <a:srgbClr val="747D87"/>
                </a:solidFill>
              </a:defRPr>
            </a:lvl1pPr>
          </a:lstStyle>
          <a:p>
            <a:pPr lvl="0"/>
            <a:r>
              <a:rPr lang="en-GB"/>
              <a:t>Click to add title</a:t>
            </a:r>
          </a:p>
        </p:txBody>
      </p:sp>
      <p:sp>
        <p:nvSpPr>
          <p:cNvPr id="44" name="Titel 43">
            <a:extLst>
              <a:ext uri="{FF2B5EF4-FFF2-40B4-BE49-F238E27FC236}">
                <a16:creationId xmlns:a16="http://schemas.microsoft.com/office/drawing/2014/main" id="{FD0CE9D9-B033-4C3A-AA7F-113469ADD698}"/>
              </a:ext>
            </a:extLst>
          </p:cNvPr>
          <p:cNvSpPr>
            <a:spLocks noGrp="1"/>
          </p:cNvSpPr>
          <p:nvPr>
            <p:ph type="title" hasCustomPrompt="1"/>
          </p:nvPr>
        </p:nvSpPr>
        <p:spPr/>
        <p:txBody>
          <a:bodyPr/>
          <a:lstStyle/>
          <a:p>
            <a:r>
              <a:rPr lang="en-GB"/>
              <a:t>Click to add title</a:t>
            </a:r>
          </a:p>
        </p:txBody>
      </p:sp>
    </p:spTree>
    <p:extLst>
      <p:ext uri="{BB962C8B-B14F-4D97-AF65-F5344CB8AC3E}">
        <p14:creationId xmlns:p14="http://schemas.microsoft.com/office/powerpoint/2010/main" val="42679022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ext #3">
    <p:spTree>
      <p:nvGrpSpPr>
        <p:cNvPr id="1" name=""/>
        <p:cNvGrpSpPr/>
        <p:nvPr/>
      </p:nvGrpSpPr>
      <p:grpSpPr>
        <a:xfrm>
          <a:off x="0" y="0"/>
          <a:ext cx="0" cy="0"/>
          <a:chOff x="0" y="0"/>
          <a:chExt cx="0" cy="0"/>
        </a:xfrm>
      </p:grpSpPr>
      <p:sp>
        <p:nvSpPr>
          <p:cNvPr id="16" name="Tijdelijke aanduiding voor tekst 10">
            <a:extLst>
              <a:ext uri="{FF2B5EF4-FFF2-40B4-BE49-F238E27FC236}">
                <a16:creationId xmlns:a16="http://schemas.microsoft.com/office/drawing/2014/main" id="{BEA26A03-DB99-8B63-4EE4-824A4ADCB08A}"/>
              </a:ext>
            </a:extLst>
          </p:cNvPr>
          <p:cNvSpPr txBox="1">
            <a:spLocks/>
          </p:cNvSpPr>
          <p:nvPr userDrawn="1"/>
        </p:nvSpPr>
        <p:spPr>
          <a:xfrm>
            <a:off x="193040" y="225424"/>
            <a:ext cx="11805920" cy="6424295"/>
          </a:xfrm>
          <a:prstGeom prst="roundRect">
            <a:avLst>
              <a:gd name="adj" fmla="val 3563"/>
            </a:avLst>
          </a:prstGeom>
          <a:solidFill>
            <a:schemeClr val="accent1">
              <a:alpha val="20000"/>
            </a:schemeClr>
          </a:solidFill>
        </p:spPr>
        <p:txBody>
          <a:bodyPr wrap="square">
            <a:noAutofit/>
          </a:bodyPr>
          <a:lstStyle>
            <a:lvl1pPr marL="0" indent="0" algn="l" defTabSz="914400" rtl="0" eaLnBrk="1" latinLnBrk="0" hangingPunct="1">
              <a:lnSpc>
                <a:spcPct val="90000"/>
              </a:lnSpc>
              <a:spcBef>
                <a:spcPts val="600"/>
              </a:spcBef>
              <a:spcAft>
                <a:spcPts val="600"/>
              </a:spcAft>
              <a:buClr>
                <a:schemeClr val="accent1"/>
              </a:buClr>
              <a:buSzPct val="110000"/>
              <a:buFont typeface="Calibri Light" panose="020F0302020204030204" pitchFamily="34" charset="0"/>
              <a:buNone/>
              <a:defRPr sz="100" kern="1200">
                <a:solidFill>
                  <a:schemeClr val="tx1"/>
                </a:solidFill>
                <a:latin typeface="+mn-lt"/>
                <a:ea typeface="+mn-ea"/>
                <a:cs typeface="+mn-cs"/>
              </a:defRPr>
            </a:lvl1pPr>
            <a:lvl2pPr marL="355600" indent="-177800" algn="l" defTabSz="914400" rtl="0" eaLnBrk="1" latinLnBrk="0" hangingPunct="1">
              <a:lnSpc>
                <a:spcPct val="90000"/>
              </a:lnSpc>
              <a:spcBef>
                <a:spcPts val="600"/>
              </a:spcBef>
              <a:spcAft>
                <a:spcPts val="600"/>
              </a:spcAft>
              <a:buClr>
                <a:schemeClr val="tx2"/>
              </a:buClr>
              <a:buFont typeface="Arial" panose="020B0604020202020204" pitchFamily="34" charset="0"/>
              <a:buChar char="•"/>
              <a:tabLst/>
              <a:defRPr sz="1600" kern="1200">
                <a:solidFill>
                  <a:schemeClr val="tx1"/>
                </a:solidFill>
                <a:latin typeface="+mn-lt"/>
                <a:ea typeface="+mn-ea"/>
                <a:cs typeface="+mn-cs"/>
              </a:defRPr>
            </a:lvl2pPr>
            <a:lvl3pPr marL="531813" indent="-176213" algn="l" defTabSz="914400" rtl="0" eaLnBrk="1" latinLnBrk="0" hangingPunct="1">
              <a:lnSpc>
                <a:spcPct val="90000"/>
              </a:lnSpc>
              <a:spcBef>
                <a:spcPts val="600"/>
              </a:spcBef>
              <a:spcAft>
                <a:spcPts val="600"/>
              </a:spcAft>
              <a:buClr>
                <a:schemeClr val="tx2"/>
              </a:buClr>
              <a:buFont typeface="Calibri Light" panose="020F0302020204030204" pitchFamily="34" charset="0"/>
              <a:buChar char="-"/>
              <a:defRPr sz="14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1600" kern="1200">
                <a:solidFill>
                  <a:schemeClr val="tx1"/>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sz="2000" b="1" kern="1200">
                <a:solidFill>
                  <a:schemeClr val="accent5"/>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2000" b="1" i="0" kern="1200" cap="none" baseline="0">
                <a:solidFill>
                  <a:schemeClr val="accent2"/>
                </a:solidFill>
                <a:latin typeface="+mj-lt"/>
                <a:ea typeface="+mn-ea"/>
                <a:cs typeface="+mn-cs"/>
              </a:defRPr>
            </a:lvl6pPr>
            <a:lvl7pPr marL="342900" indent="-342900" algn="l" defTabSz="914400" rtl="0" eaLnBrk="1" latinLnBrk="0" hangingPunct="1">
              <a:lnSpc>
                <a:spcPct val="90000"/>
              </a:lnSpc>
              <a:spcBef>
                <a:spcPts val="600"/>
              </a:spcBef>
              <a:spcAft>
                <a:spcPts val="600"/>
              </a:spcAft>
              <a:buClr>
                <a:schemeClr val="tx2"/>
              </a:buClr>
              <a:buFont typeface="+mj-lt"/>
              <a:buAutoNum type="arabicPeriod"/>
              <a:tabLst/>
              <a:defRPr sz="1600" kern="1200">
                <a:solidFill>
                  <a:schemeClr val="tx1"/>
                </a:solidFill>
                <a:latin typeface="+mn-lt"/>
                <a:ea typeface="+mn-ea"/>
                <a:cs typeface="+mn-cs"/>
              </a:defRPr>
            </a:lvl7pPr>
            <a:lvl8pPr marL="342900" indent="-342900" algn="l" defTabSz="914400" rtl="0" eaLnBrk="1" latinLnBrk="0" hangingPunct="1">
              <a:lnSpc>
                <a:spcPct val="90000"/>
              </a:lnSpc>
              <a:spcBef>
                <a:spcPts val="600"/>
              </a:spcBef>
              <a:spcAft>
                <a:spcPts val="600"/>
              </a:spcAft>
              <a:buClr>
                <a:schemeClr val="tx2"/>
              </a:buClr>
              <a:buFont typeface="+mj-lt"/>
              <a:buAutoNum type="alphaLcPeriod"/>
              <a:defRPr sz="1600" kern="1200">
                <a:solidFill>
                  <a:schemeClr val="tx1"/>
                </a:solidFill>
                <a:latin typeface="+mn-lt"/>
                <a:ea typeface="+mn-ea"/>
                <a:cs typeface="+mn-cs"/>
              </a:defRPr>
            </a:lvl8pPr>
            <a:lvl9pPr marL="541338" indent="-180975" algn="l" defTabSz="914400" rtl="0" eaLnBrk="1" latinLnBrk="0" hangingPunct="1">
              <a:lnSpc>
                <a:spcPct val="90000"/>
              </a:lnSpc>
              <a:spcBef>
                <a:spcPts val="600"/>
              </a:spcBef>
              <a:spcAft>
                <a:spcPts val="600"/>
              </a:spcAft>
              <a:buClr>
                <a:schemeClr val="tx2"/>
              </a:buClr>
              <a:buFont typeface="Arial" panose="020B0604020202020204" pitchFamily="34" charset="0"/>
              <a:buChar char="•"/>
              <a:defRPr sz="1600" i="0" kern="1200">
                <a:solidFill>
                  <a:schemeClr val="tx1"/>
                </a:solidFill>
                <a:latin typeface="+mn-lt"/>
                <a:ea typeface="+mn-ea"/>
                <a:cs typeface="+mn-cs"/>
              </a:defRPr>
            </a:lvl9pPr>
          </a:lstStyle>
          <a:p>
            <a:r>
              <a:rPr lang="en-GB"/>
              <a:t> </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720000" y="1592263"/>
            <a:ext cx="7488000" cy="4213944"/>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a:t>Plain text #1</a:t>
            </a:r>
          </a:p>
          <a:p>
            <a:pPr lvl="1"/>
            <a:r>
              <a:rPr lang="en-GB" noProof="0"/>
              <a:t>Plain text #2</a:t>
            </a:r>
          </a:p>
          <a:p>
            <a:pPr lvl="2"/>
            <a:r>
              <a:rPr lang="en-GB" noProof="0"/>
              <a:t>Heading #1</a:t>
            </a:r>
          </a:p>
          <a:p>
            <a:pPr lvl="3"/>
            <a:r>
              <a:rPr lang="en-GB" noProof="0"/>
              <a:t>Heading #2</a:t>
            </a:r>
          </a:p>
          <a:p>
            <a:pPr lvl="4"/>
            <a:r>
              <a:rPr lang="en-GB" noProof="0"/>
              <a:t>Heading #3</a:t>
            </a:r>
          </a:p>
          <a:p>
            <a:pPr lvl="5"/>
            <a:r>
              <a:rPr lang="en-GB" noProof="0"/>
              <a:t>Heading #4</a:t>
            </a:r>
          </a:p>
          <a:p>
            <a:pPr lvl="6"/>
            <a:r>
              <a:rPr lang="en-GB" noProof="0"/>
              <a:t>Source</a:t>
            </a:r>
          </a:p>
          <a:p>
            <a:pPr lvl="7"/>
            <a:r>
              <a:rPr lang="en-GB" noProof="0"/>
              <a:t>Plain text #1</a:t>
            </a:r>
          </a:p>
          <a:p>
            <a:pPr marL="0" marR="0" lvl="8" indent="0" algn="l" defTabSz="914400" rtl="0" eaLnBrk="1" fontAlgn="auto" latinLnBrk="0" hangingPunct="1">
              <a:lnSpc>
                <a:spcPct val="90000"/>
              </a:lnSpc>
              <a:spcBef>
                <a:spcPts val="600"/>
              </a:spcBef>
              <a:spcAft>
                <a:spcPts val="600"/>
              </a:spcAft>
              <a:buClr>
                <a:schemeClr val="tx2"/>
              </a:buClr>
              <a:buSzTx/>
              <a:buFontTx/>
              <a:buNone/>
              <a:tabLst/>
              <a:defRPr/>
            </a:pPr>
            <a:r>
              <a:rPr lang="en-GB" noProof="0"/>
              <a:t>Plain text #2</a:t>
            </a:r>
          </a:p>
        </p:txBody>
      </p:sp>
      <p:sp>
        <p:nvSpPr>
          <p:cNvPr id="9" name="Rechthoek: afgeronde hoeken 8">
            <a:extLst>
              <a:ext uri="{FF2B5EF4-FFF2-40B4-BE49-F238E27FC236}">
                <a16:creationId xmlns:a16="http://schemas.microsoft.com/office/drawing/2014/main" id="{E48AD39F-D1BD-4A94-927C-E2D6B75091D7}"/>
              </a:ext>
            </a:extLst>
          </p:cNvPr>
          <p:cNvSpPr/>
          <p:nvPr userDrawn="1"/>
        </p:nvSpPr>
        <p:spPr>
          <a:xfrm>
            <a:off x="0" y="-367937"/>
            <a:ext cx="600998" cy="24622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en-GB" sz="1600" b="1" cap="none" baseline="0" noProof="0">
                <a:solidFill>
                  <a:schemeClr val="accent1"/>
                </a:solidFill>
                <a:latin typeface="+mj-lt"/>
              </a:rPr>
              <a:t>Text #3</a:t>
            </a:r>
          </a:p>
        </p:txBody>
      </p:sp>
      <p:sp>
        <p:nvSpPr>
          <p:cNvPr id="92" name="Tijdelijke aanduiding voor tekst 15">
            <a:extLst>
              <a:ext uri="{FF2B5EF4-FFF2-40B4-BE49-F238E27FC236}">
                <a16:creationId xmlns:a16="http://schemas.microsoft.com/office/drawing/2014/main" id="{2378F912-895D-4E5A-C6A2-0F02095F837B}"/>
              </a:ext>
            </a:extLst>
          </p:cNvPr>
          <p:cNvSpPr>
            <a:spLocks noGrp="1"/>
          </p:cNvSpPr>
          <p:nvPr>
            <p:ph type="body" sz="quarter" idx="14" hasCustomPrompt="1"/>
          </p:nvPr>
        </p:nvSpPr>
        <p:spPr>
          <a:xfrm>
            <a:off x="720000" y="6060536"/>
            <a:ext cx="932400" cy="475200"/>
          </a:xfrm>
          <a:blipFill>
            <a:blip r:embed="rId2"/>
            <a:stretch>
              <a:fillRect/>
            </a:stretch>
          </a:blipFill>
        </p:spPr>
        <p:txBody>
          <a:bodyPr/>
          <a:lstStyle>
            <a:lvl1pPr marL="0" indent="0">
              <a:buNone/>
              <a:defRPr sz="100"/>
            </a:lvl1pPr>
          </a:lstStyle>
          <a:p>
            <a:pPr lvl="0"/>
            <a:r>
              <a:rPr lang="en-GB"/>
              <a:t> </a:t>
            </a:r>
          </a:p>
        </p:txBody>
      </p:sp>
      <p:sp>
        <p:nvSpPr>
          <p:cNvPr id="94" name="Tijdelijke aanduiding voor tekst 12">
            <a:extLst>
              <a:ext uri="{FF2B5EF4-FFF2-40B4-BE49-F238E27FC236}">
                <a16:creationId xmlns:a16="http://schemas.microsoft.com/office/drawing/2014/main" id="{15465D20-B021-B141-C442-893E0F9A43EA}"/>
              </a:ext>
            </a:extLst>
          </p:cNvPr>
          <p:cNvSpPr>
            <a:spLocks noGrp="1"/>
          </p:cNvSpPr>
          <p:nvPr>
            <p:ph type="body" sz="quarter" idx="18" hasCustomPrompt="1"/>
          </p:nvPr>
        </p:nvSpPr>
        <p:spPr>
          <a:xfrm>
            <a:off x="708207" y="707795"/>
            <a:ext cx="36000" cy="396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buNone/>
              <a:defRPr sz="100"/>
            </a:lvl1pPr>
          </a:lstStyle>
          <a:p>
            <a:pPr lvl="0"/>
            <a:r>
              <a:rPr lang="en-GB"/>
              <a:t> </a:t>
            </a:r>
          </a:p>
        </p:txBody>
      </p:sp>
      <p:sp>
        <p:nvSpPr>
          <p:cNvPr id="95" name="Tijdelijke aanduiding voor titel 1">
            <a:extLst>
              <a:ext uri="{FF2B5EF4-FFF2-40B4-BE49-F238E27FC236}">
                <a16:creationId xmlns:a16="http://schemas.microsoft.com/office/drawing/2014/main" id="{DC43821C-5BB8-744D-9C50-AA91E9ED5595}"/>
              </a:ext>
            </a:extLst>
          </p:cNvPr>
          <p:cNvSpPr>
            <a:spLocks noGrp="1"/>
          </p:cNvSpPr>
          <p:nvPr>
            <p:ph type="title" hasCustomPrompt="1"/>
          </p:nvPr>
        </p:nvSpPr>
        <p:spPr>
          <a:xfrm>
            <a:off x="865163" y="722313"/>
            <a:ext cx="10606838" cy="342211"/>
          </a:xfrm>
          <a:prstGeom prst="rect">
            <a:avLst/>
          </a:prstGeom>
        </p:spPr>
        <p:txBody>
          <a:bodyPr vert="horz" lIns="0" tIns="0" rIns="0" bIns="0" rtlCol="0" anchor="t">
            <a:noAutofit/>
          </a:bodyPr>
          <a:lstStyle/>
          <a:p>
            <a:r>
              <a:rPr lang="en-GB" noProof="0"/>
              <a:t>Place the title of the slide here</a:t>
            </a:r>
          </a:p>
        </p:txBody>
      </p:sp>
      <p:grpSp>
        <p:nvGrpSpPr>
          <p:cNvPr id="2" name="Groep 1">
            <a:extLst>
              <a:ext uri="{FF2B5EF4-FFF2-40B4-BE49-F238E27FC236}">
                <a16:creationId xmlns:a16="http://schemas.microsoft.com/office/drawing/2014/main" id="{CF483841-348D-A675-BA00-AE90EA95E1B7}"/>
              </a:ext>
            </a:extLst>
          </p:cNvPr>
          <p:cNvGrpSpPr/>
          <p:nvPr userDrawn="1"/>
        </p:nvGrpSpPr>
        <p:grpSpPr>
          <a:xfrm>
            <a:off x="-3786437" y="0"/>
            <a:ext cx="3693386" cy="5359349"/>
            <a:chOff x="-3786437" y="0"/>
            <a:chExt cx="3693386" cy="5359349"/>
          </a:xfrm>
        </p:grpSpPr>
        <p:sp>
          <p:nvSpPr>
            <p:cNvPr id="4" name="Rechthoek 3">
              <a:extLst>
                <a:ext uri="{FF2B5EF4-FFF2-40B4-BE49-F238E27FC236}">
                  <a16:creationId xmlns:a16="http://schemas.microsoft.com/office/drawing/2014/main" id="{20363C54-316F-2482-317E-B0260CEB6C15}"/>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a:solidFill>
                    <a:schemeClr val="tx2"/>
                  </a:solidFill>
                  <a:latin typeface="Calibri" panose="020F0502020204030204" pitchFamily="34" charset="0"/>
                  <a:cs typeface="Calibri" panose="020F0502020204030204" pitchFamily="34" charset="0"/>
                </a:rPr>
                <a:t>Choosing text levels</a:t>
              </a:r>
            </a:p>
          </p:txBody>
        </p:sp>
        <p:sp>
          <p:nvSpPr>
            <p:cNvPr id="5" name="Ovaal 4">
              <a:extLst>
                <a:ext uri="{FF2B5EF4-FFF2-40B4-BE49-F238E27FC236}">
                  <a16:creationId xmlns:a16="http://schemas.microsoft.com/office/drawing/2014/main" id="{BBC38D66-B0FF-FE97-1CD2-BDF66B7557AB}"/>
                </a:ext>
              </a:extLst>
            </p:cNvPr>
            <p:cNvSpPr/>
            <p:nvPr userDrawn="1"/>
          </p:nvSpPr>
          <p:spPr>
            <a:xfrm>
              <a:off x="-3604183" y="1837484"/>
              <a:ext cx="180000" cy="180000"/>
            </a:xfrm>
            <a:prstGeom prst="ellipse">
              <a:avLst/>
            </a:prstGeom>
            <a:solidFill>
              <a:schemeClr val="tx2"/>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6" name="Rechthoek 5">
              <a:extLst>
                <a:ext uri="{FF2B5EF4-FFF2-40B4-BE49-F238E27FC236}">
                  <a16:creationId xmlns:a16="http://schemas.microsoft.com/office/drawing/2014/main" id="{999A32FE-D346-53C3-B88C-0B91055D2043}"/>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4"/>
                </a:buClr>
                <a:buSzTx/>
                <a:buFontTx/>
                <a:buNone/>
                <a:tabLst/>
                <a:defRPr/>
              </a:pPr>
              <a:r>
                <a:rPr kumimoji="0" lang="en-GB" sz="14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lain text #1</a:t>
              </a:r>
            </a:p>
          </p:txBody>
        </p:sp>
        <p:sp>
          <p:nvSpPr>
            <p:cNvPr id="7" name="Ovaal 6">
              <a:extLst>
                <a:ext uri="{FF2B5EF4-FFF2-40B4-BE49-F238E27FC236}">
                  <a16:creationId xmlns:a16="http://schemas.microsoft.com/office/drawing/2014/main" id="{6A184EE0-C259-F633-4B54-6F93640FC21E}"/>
                </a:ext>
              </a:extLst>
            </p:cNvPr>
            <p:cNvSpPr/>
            <p:nvPr userDrawn="1"/>
          </p:nvSpPr>
          <p:spPr>
            <a:xfrm>
              <a:off x="-3604183" y="2128768"/>
              <a:ext cx="180000" cy="180000"/>
            </a:xfrm>
            <a:prstGeom prst="ellipse">
              <a:avLst/>
            </a:prstGeom>
            <a:solidFill>
              <a:schemeClr val="tx2"/>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 name="Rechthoek 7">
              <a:extLst>
                <a:ext uri="{FF2B5EF4-FFF2-40B4-BE49-F238E27FC236}">
                  <a16:creationId xmlns:a16="http://schemas.microsoft.com/office/drawing/2014/main" id="{17244968-0CD8-CBFE-9A7C-54C6D9E7855A}"/>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0" name="Rechthoek 9">
              <a:extLst>
                <a:ext uri="{FF2B5EF4-FFF2-40B4-BE49-F238E27FC236}">
                  <a16:creationId xmlns:a16="http://schemas.microsoft.com/office/drawing/2014/main" id="{805EF584-1827-51E4-ACE3-6B49543F7290}"/>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4"/>
                </a:buClr>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lain text #2</a:t>
              </a:r>
            </a:p>
          </p:txBody>
        </p:sp>
        <p:sp>
          <p:nvSpPr>
            <p:cNvPr id="11" name="Ovaal 10">
              <a:extLst>
                <a:ext uri="{FF2B5EF4-FFF2-40B4-BE49-F238E27FC236}">
                  <a16:creationId xmlns:a16="http://schemas.microsoft.com/office/drawing/2014/main" id="{CD4AE46B-650B-91A6-7BFF-B127B2665EB5}"/>
                </a:ext>
              </a:extLst>
            </p:cNvPr>
            <p:cNvSpPr/>
            <p:nvPr userDrawn="1"/>
          </p:nvSpPr>
          <p:spPr>
            <a:xfrm>
              <a:off x="-3604183" y="2420052"/>
              <a:ext cx="180000" cy="180000"/>
            </a:xfrm>
            <a:prstGeom prst="ellipse">
              <a:avLst/>
            </a:prstGeom>
            <a:solidFill>
              <a:schemeClr val="tx2"/>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2" name="Rechthoek 11">
              <a:extLst>
                <a:ext uri="{FF2B5EF4-FFF2-40B4-BE49-F238E27FC236}">
                  <a16:creationId xmlns:a16="http://schemas.microsoft.com/office/drawing/2014/main" id="{C3A98153-5E34-FBC3-9EF8-284DF46F1B14}"/>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600"/>
                </a:spcBef>
                <a:spcAft>
                  <a:spcPts val="600"/>
                </a:spcAft>
                <a:buClr>
                  <a:srgbClr val="EE7628"/>
                </a:buClr>
                <a:buSzTx/>
                <a:buFont typeface="Arial" panose="020B0604020202020204" pitchFamily="34" charset="0"/>
                <a:buNone/>
                <a:tabLst/>
                <a:defRPr/>
              </a:pPr>
              <a:r>
                <a:rPr kumimoji="0" lang="en-GB" sz="1800" b="1" i="0" u="none" strike="noStrike" kern="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rPr>
                <a:t>Heading #1</a:t>
              </a:r>
            </a:p>
          </p:txBody>
        </p:sp>
        <p:sp>
          <p:nvSpPr>
            <p:cNvPr id="13" name="Ovaal 12">
              <a:extLst>
                <a:ext uri="{FF2B5EF4-FFF2-40B4-BE49-F238E27FC236}">
                  <a16:creationId xmlns:a16="http://schemas.microsoft.com/office/drawing/2014/main" id="{673CFB8F-6BFA-E557-7927-9954D9423F69}"/>
                </a:ext>
              </a:extLst>
            </p:cNvPr>
            <p:cNvSpPr/>
            <p:nvPr userDrawn="1"/>
          </p:nvSpPr>
          <p:spPr>
            <a:xfrm>
              <a:off x="-3604183" y="2711336"/>
              <a:ext cx="180000" cy="180000"/>
            </a:xfrm>
            <a:prstGeom prst="ellipse">
              <a:avLst/>
            </a:prstGeom>
            <a:solidFill>
              <a:schemeClr val="tx2"/>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4" name="Rechthoek 13">
              <a:extLst>
                <a:ext uri="{FF2B5EF4-FFF2-40B4-BE49-F238E27FC236}">
                  <a16:creationId xmlns:a16="http://schemas.microsoft.com/office/drawing/2014/main" id="{652B1C11-6789-CC54-187B-E58DDE68A3A7}"/>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600"/>
                </a:spcBef>
                <a:spcAft>
                  <a:spcPts val="600"/>
                </a:spcAft>
                <a:buClr>
                  <a:srgbClr val="EE7628"/>
                </a:buClr>
                <a:buSzTx/>
                <a:buFont typeface="Arial" panose="020B0604020202020204" pitchFamily="34" charset="0"/>
                <a:buNone/>
                <a:tabLst/>
                <a:defRPr/>
              </a:pPr>
              <a:r>
                <a:rPr kumimoji="0" lang="en-GB" sz="1800" b="1" i="0" u="none" strike="noStrike" kern="0" cap="none" spc="0" normalizeH="0" baseline="0" noProof="0">
                  <a:ln>
                    <a:noFill/>
                  </a:ln>
                  <a:solidFill>
                    <a:schemeClr val="accent1"/>
                  </a:solidFill>
                  <a:effectLst/>
                  <a:uLnTx/>
                  <a:uFillTx/>
                  <a:latin typeface="Calibri" panose="020F0502020204030204" pitchFamily="34" charset="0"/>
                  <a:ea typeface="+mn-ea"/>
                  <a:cs typeface="Calibri" panose="020F0502020204030204" pitchFamily="34" charset="0"/>
                </a:rPr>
                <a:t>Heading #2</a:t>
              </a:r>
            </a:p>
          </p:txBody>
        </p:sp>
        <p:sp>
          <p:nvSpPr>
            <p:cNvPr id="15" name="Ovaal 14">
              <a:extLst>
                <a:ext uri="{FF2B5EF4-FFF2-40B4-BE49-F238E27FC236}">
                  <a16:creationId xmlns:a16="http://schemas.microsoft.com/office/drawing/2014/main" id="{65D18B50-5CDF-DB1E-7C0C-67BE8B8CC466}"/>
                </a:ext>
              </a:extLst>
            </p:cNvPr>
            <p:cNvSpPr/>
            <p:nvPr userDrawn="1"/>
          </p:nvSpPr>
          <p:spPr>
            <a:xfrm>
              <a:off x="-3604183" y="3002620"/>
              <a:ext cx="180000" cy="180000"/>
            </a:xfrm>
            <a:prstGeom prst="ellipse">
              <a:avLst/>
            </a:prstGeom>
            <a:solidFill>
              <a:schemeClr val="tx2"/>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7" name="Rechthoek 16">
              <a:extLst>
                <a:ext uri="{FF2B5EF4-FFF2-40B4-BE49-F238E27FC236}">
                  <a16:creationId xmlns:a16="http://schemas.microsoft.com/office/drawing/2014/main" id="{7A25BAA9-5D94-EF51-7282-9B3FF6D2C2C4}"/>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en-GB" sz="1800" b="1" i="0" u="none" strike="noStrike" kern="0" cap="none" spc="0" normalizeH="0" baseline="0" noProof="0">
                  <a:ln>
                    <a:noFill/>
                  </a:ln>
                  <a:solidFill>
                    <a:schemeClr val="accent3"/>
                  </a:solidFill>
                  <a:effectLst/>
                  <a:uLnTx/>
                  <a:uFillTx/>
                  <a:latin typeface="Calibri" panose="020F0502020204030204" pitchFamily="34" charset="0"/>
                  <a:cs typeface="Calibri" panose="020F0502020204030204" pitchFamily="34" charset="0"/>
                </a:rPr>
                <a:t>Heading #3</a:t>
              </a:r>
            </a:p>
          </p:txBody>
        </p:sp>
        <p:sp>
          <p:nvSpPr>
            <p:cNvPr id="18" name="Ovaal 17">
              <a:extLst>
                <a:ext uri="{FF2B5EF4-FFF2-40B4-BE49-F238E27FC236}">
                  <a16:creationId xmlns:a16="http://schemas.microsoft.com/office/drawing/2014/main" id="{3BE83ABA-7EBD-D6B1-A896-5692DD1940D8}"/>
                </a:ext>
              </a:extLst>
            </p:cNvPr>
            <p:cNvSpPr/>
            <p:nvPr userDrawn="1"/>
          </p:nvSpPr>
          <p:spPr>
            <a:xfrm>
              <a:off x="-3604183" y="3293904"/>
              <a:ext cx="180000" cy="180000"/>
            </a:xfrm>
            <a:prstGeom prst="ellipse">
              <a:avLst/>
            </a:prstGeom>
            <a:solidFill>
              <a:schemeClr val="tx2"/>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9" name="Rechthoek 18">
              <a:extLst>
                <a:ext uri="{FF2B5EF4-FFF2-40B4-BE49-F238E27FC236}">
                  <a16:creationId xmlns:a16="http://schemas.microsoft.com/office/drawing/2014/main" id="{5ED570F2-BCE3-5BB0-4968-3ECB8CE8338F}"/>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4"/>
                </a:buClr>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ource</a:t>
              </a:r>
            </a:p>
          </p:txBody>
        </p:sp>
        <p:sp>
          <p:nvSpPr>
            <p:cNvPr id="20" name="Ovaal 19">
              <a:extLst>
                <a:ext uri="{FF2B5EF4-FFF2-40B4-BE49-F238E27FC236}">
                  <a16:creationId xmlns:a16="http://schemas.microsoft.com/office/drawing/2014/main" id="{859DC937-6D3E-84FC-4F9F-92DA3F771D20}"/>
                </a:ext>
              </a:extLst>
            </p:cNvPr>
            <p:cNvSpPr/>
            <p:nvPr userDrawn="1"/>
          </p:nvSpPr>
          <p:spPr>
            <a:xfrm>
              <a:off x="-3604183" y="3585188"/>
              <a:ext cx="180000" cy="180000"/>
            </a:xfrm>
            <a:prstGeom prst="ellipse">
              <a:avLst/>
            </a:prstGeom>
            <a:solidFill>
              <a:schemeClr val="tx2"/>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1" name="Rechthoek 20">
              <a:extLst>
                <a:ext uri="{FF2B5EF4-FFF2-40B4-BE49-F238E27FC236}">
                  <a16:creationId xmlns:a16="http://schemas.microsoft.com/office/drawing/2014/main" id="{2A2B6CE0-C6EC-19B7-E89B-F25FDF9FA046}"/>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100000"/>
                </a:lnSpc>
                <a:spcBef>
                  <a:spcPts val="600"/>
                </a:spcBef>
                <a:spcAft>
                  <a:spcPts val="600"/>
                </a:spcAft>
                <a:buClr>
                  <a:srgbClr val="2CA055"/>
                </a:buClr>
                <a:buSzTx/>
                <a:buFontTx/>
                <a:buNone/>
                <a:tabLst/>
                <a:defRPr/>
              </a:pPr>
              <a:r>
                <a:rPr kumimoji="0" lang="en-GB" sz="14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Plain text #1</a:t>
              </a:r>
            </a:p>
          </p:txBody>
        </p:sp>
        <p:sp>
          <p:nvSpPr>
            <p:cNvPr id="22" name="Ovaal 21">
              <a:extLst>
                <a:ext uri="{FF2B5EF4-FFF2-40B4-BE49-F238E27FC236}">
                  <a16:creationId xmlns:a16="http://schemas.microsoft.com/office/drawing/2014/main" id="{FD89A769-5776-16F4-6CAD-D0390E2A17F9}"/>
                </a:ext>
              </a:extLst>
            </p:cNvPr>
            <p:cNvSpPr/>
            <p:nvPr userDrawn="1"/>
          </p:nvSpPr>
          <p:spPr>
            <a:xfrm>
              <a:off x="-3604183" y="3876472"/>
              <a:ext cx="180000" cy="180000"/>
            </a:xfrm>
            <a:prstGeom prst="ellipse">
              <a:avLst/>
            </a:prstGeom>
            <a:solidFill>
              <a:schemeClr val="tx2"/>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3" name="Rechthoek 22">
              <a:extLst>
                <a:ext uri="{FF2B5EF4-FFF2-40B4-BE49-F238E27FC236}">
                  <a16:creationId xmlns:a16="http://schemas.microsoft.com/office/drawing/2014/main" id="{D700D7A7-2863-BEB8-A685-7B7347C6F653}"/>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4"/>
                </a:buClr>
                <a:buSzTx/>
                <a:buFontTx/>
                <a:buNone/>
                <a:tabLst/>
                <a:defRPr/>
              </a:pPr>
              <a:r>
                <a:rPr kumimoji="0" lang="en-GB"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Plain text #2</a:t>
              </a:r>
            </a:p>
          </p:txBody>
        </p:sp>
        <p:sp>
          <p:nvSpPr>
            <p:cNvPr id="24" name="Ovaal 23">
              <a:extLst>
                <a:ext uri="{FF2B5EF4-FFF2-40B4-BE49-F238E27FC236}">
                  <a16:creationId xmlns:a16="http://schemas.microsoft.com/office/drawing/2014/main" id="{6105C9E0-85AA-CAB7-CD17-3C9A7BEC0388}"/>
                </a:ext>
              </a:extLst>
            </p:cNvPr>
            <p:cNvSpPr/>
            <p:nvPr userDrawn="1"/>
          </p:nvSpPr>
          <p:spPr>
            <a:xfrm>
              <a:off x="-3604183" y="4168594"/>
              <a:ext cx="180000" cy="180000"/>
            </a:xfrm>
            <a:prstGeom prst="ellipse">
              <a:avLst/>
            </a:prstGeom>
            <a:solidFill>
              <a:schemeClr val="tx2"/>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5" name="Rechthoek 24">
              <a:extLst>
                <a:ext uri="{FF2B5EF4-FFF2-40B4-BE49-F238E27FC236}">
                  <a16:creationId xmlns:a16="http://schemas.microsoft.com/office/drawing/2014/main" id="{8605329F-E16D-937C-4909-04CF3141D00C}"/>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Arial" panose="020B0604020202020204" pitchFamily="34" charset="0"/>
                <a:buNone/>
                <a:tabLst/>
                <a:defRPr/>
              </a:pPr>
              <a:r>
                <a:rPr kumimoji="0" lang="en-GB" sz="1800" b="1" i="0" u="none" strike="noStrike" kern="0" cap="none" spc="0" normalizeH="0" baseline="0" noProof="0">
                  <a:ln>
                    <a:noFill/>
                  </a:ln>
                  <a:solidFill>
                    <a:schemeClr val="accent4"/>
                  </a:solidFill>
                  <a:effectLst/>
                  <a:uLnTx/>
                  <a:uFillTx/>
                  <a:latin typeface="Calibri" panose="020F0502020204030204" pitchFamily="34" charset="0"/>
                  <a:cs typeface="Calibri" panose="020F0502020204030204" pitchFamily="34" charset="0"/>
                </a:rPr>
                <a:t>Heading #4</a:t>
              </a:r>
            </a:p>
          </p:txBody>
        </p:sp>
        <p:sp>
          <p:nvSpPr>
            <p:cNvPr id="26" name="Rechthoek 25">
              <a:extLst>
                <a:ext uri="{FF2B5EF4-FFF2-40B4-BE49-F238E27FC236}">
                  <a16:creationId xmlns:a16="http://schemas.microsoft.com/office/drawing/2014/main" id="{8315D92F-333A-BDDE-D24B-7758B31DA5FD}"/>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a:solidFill>
                    <a:srgbClr val="211F26"/>
                  </a:solidFill>
                  <a:latin typeface="Calibri" panose="020F0502020204030204" pitchFamily="34" charset="0"/>
                  <a:cs typeface="Calibri" panose="020F0502020204030204" pitchFamily="34" charset="0"/>
                </a:rPr>
                <a:t>Want to know more?</a:t>
              </a:r>
              <a:br>
                <a:rPr lang="en-GB" sz="1200" b="1" cap="all" baseline="0" noProof="0">
                  <a:solidFill>
                    <a:srgbClr val="211F26"/>
                  </a:solidFill>
                  <a:latin typeface="Calibri" panose="020F0502020204030204" pitchFamily="34" charset="0"/>
                  <a:cs typeface="Calibri" panose="020F0502020204030204" pitchFamily="34" charset="0"/>
                </a:rPr>
              </a:br>
              <a:r>
                <a:rPr lang="en-GB" sz="1200" cap="none" baseline="0" noProof="0">
                  <a:solidFill>
                    <a:srgbClr val="211F26"/>
                  </a:solidFill>
                  <a:latin typeface="Calibri" panose="020F0502020204030204" pitchFamily="34" charset="0"/>
                  <a:cs typeface="Calibri" panose="020F0502020204030204" pitchFamily="34" charset="0"/>
                </a:rPr>
                <a:t>Go to the </a:t>
              </a:r>
              <a:r>
                <a:rPr lang="en-GB" sz="1200" kern="1200" cap="none" baseline="0" noProof="0">
                  <a:solidFill>
                    <a:srgbClr val="211F26"/>
                  </a:solidFill>
                  <a:latin typeface="Calibri" panose="020F0502020204030204" pitchFamily="34" charset="0"/>
                  <a:ea typeface="+mn-ea"/>
                  <a:cs typeface="Calibri" panose="020F0502020204030204" pitchFamily="34" charset="0"/>
                </a:rPr>
                <a:t>tab</a:t>
              </a:r>
              <a:r>
                <a:rPr lang="en-GB" sz="1200" b="1" cap="all" baseline="0" noProof="0">
                  <a:solidFill>
                    <a:srgbClr val="211F26"/>
                  </a:solidFill>
                  <a:latin typeface="Calibri" panose="020F0502020204030204" pitchFamily="34" charset="0"/>
                  <a:cs typeface="Calibri" panose="020F0502020204030204" pitchFamily="34" charset="0"/>
                </a:rPr>
                <a:t> 'SLIDEBUILDER’ </a:t>
              </a:r>
              <a:r>
                <a:rPr lang="en-GB" sz="1200" kern="1200" cap="none" baseline="0" noProof="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a:solidFill>
                    <a:srgbClr val="211F26"/>
                  </a:solidFill>
                  <a:latin typeface="Calibri" panose="020F0502020204030204" pitchFamily="34" charset="0"/>
                  <a:ea typeface="+mn-ea"/>
                  <a:cs typeface="Calibri" panose="020F0502020204030204" pitchFamily="34" charset="0"/>
                </a:rPr>
              </a:br>
              <a:r>
                <a:rPr lang="en-GB" sz="1200" kern="1200" cap="none" baseline="0" noProof="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a:solidFill>
                    <a:srgbClr val="211F26"/>
                  </a:solidFill>
                  <a:latin typeface="Calibri" panose="020F0502020204030204" pitchFamily="34" charset="0"/>
                  <a:cs typeface="Calibri" panose="020F0502020204030204" pitchFamily="34" charset="0"/>
                </a:rPr>
                <a:t>‘Inspiration'</a:t>
              </a:r>
            </a:p>
          </p:txBody>
        </p:sp>
        <p:grpSp>
          <p:nvGrpSpPr>
            <p:cNvPr id="27" name="ICOON_info">
              <a:extLst>
                <a:ext uri="{FF2B5EF4-FFF2-40B4-BE49-F238E27FC236}">
                  <a16:creationId xmlns:a16="http://schemas.microsoft.com/office/drawing/2014/main" id="{18A25F11-3A7F-DA31-CD61-CE9B94D2EE6C}"/>
                </a:ext>
              </a:extLst>
            </p:cNvPr>
            <p:cNvGrpSpPr/>
            <p:nvPr userDrawn="1"/>
          </p:nvGrpSpPr>
          <p:grpSpPr>
            <a:xfrm>
              <a:off x="-376736" y="4400186"/>
              <a:ext cx="283685" cy="283685"/>
              <a:chOff x="-510741" y="5913713"/>
              <a:chExt cx="267555" cy="267555"/>
            </a:xfrm>
          </p:grpSpPr>
          <p:sp>
            <p:nvSpPr>
              <p:cNvPr id="75" name="Ovaal 74">
                <a:extLst>
                  <a:ext uri="{FF2B5EF4-FFF2-40B4-BE49-F238E27FC236}">
                    <a16:creationId xmlns:a16="http://schemas.microsoft.com/office/drawing/2014/main" id="{86EF63D8-5864-E80A-5CDE-D2DE1DEEC4A5}"/>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a:latin typeface="Calibri" panose="020F0502020204030204" pitchFamily="34" charset="0"/>
                  <a:cs typeface="Calibri" panose="020F0502020204030204" pitchFamily="34" charset="0"/>
                </a:endParaRPr>
              </a:p>
            </p:txBody>
          </p:sp>
          <p:sp>
            <p:nvSpPr>
              <p:cNvPr id="76" name="Graphic 163" descr="Informatie">
                <a:extLst>
                  <a:ext uri="{FF2B5EF4-FFF2-40B4-BE49-F238E27FC236}">
                    <a16:creationId xmlns:a16="http://schemas.microsoft.com/office/drawing/2014/main" id="{D90607A0-E995-5C5A-2B6C-C87EB1BF7A40}"/>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a:solidFill>
                    <a:srgbClr val="211F26"/>
                  </a:solidFill>
                  <a:latin typeface="Calibri" panose="020F0502020204030204" pitchFamily="34" charset="0"/>
                  <a:cs typeface="Calibri" panose="020F0502020204030204" pitchFamily="34" charset="0"/>
                </a:endParaRPr>
              </a:p>
            </p:txBody>
          </p:sp>
        </p:grpSp>
        <p:grpSp>
          <p:nvGrpSpPr>
            <p:cNvPr id="28" name="VOORBEELD">
              <a:extLst>
                <a:ext uri="{FF2B5EF4-FFF2-40B4-BE49-F238E27FC236}">
                  <a16:creationId xmlns:a16="http://schemas.microsoft.com/office/drawing/2014/main" id="{1C505683-22F2-43AC-D1F9-3287F5EEC1E2}"/>
                </a:ext>
              </a:extLst>
            </p:cNvPr>
            <p:cNvGrpSpPr/>
            <p:nvPr userDrawn="1"/>
          </p:nvGrpSpPr>
          <p:grpSpPr>
            <a:xfrm>
              <a:off x="-3605171" y="458674"/>
              <a:ext cx="3234311" cy="558875"/>
              <a:chOff x="-3605171" y="458674"/>
              <a:chExt cx="3234311" cy="558875"/>
            </a:xfrm>
          </p:grpSpPr>
          <p:sp>
            <p:nvSpPr>
              <p:cNvPr id="35" name="Rechthoek 34">
                <a:extLst>
                  <a:ext uri="{FF2B5EF4-FFF2-40B4-BE49-F238E27FC236}">
                    <a16:creationId xmlns:a16="http://schemas.microsoft.com/office/drawing/2014/main" id="{010B0189-07B0-21EB-56D5-F8FACFFBB5DF}"/>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a:solidFill>
                      <a:srgbClr val="211F26"/>
                    </a:solidFill>
                    <a:latin typeface="Calibri" panose="020F0502020204030204" pitchFamily="34" charset="0"/>
                    <a:cs typeface="Calibri" panose="020F0502020204030204" pitchFamily="34" charset="0"/>
                  </a:rPr>
                  <a:t>Home</a:t>
                </a:r>
              </a:p>
            </p:txBody>
          </p:sp>
          <p:sp>
            <p:nvSpPr>
              <p:cNvPr id="36" name="Rechthoek 35">
                <a:extLst>
                  <a:ext uri="{FF2B5EF4-FFF2-40B4-BE49-F238E27FC236}">
                    <a16:creationId xmlns:a16="http://schemas.microsoft.com/office/drawing/2014/main" id="{E656F601-1F77-2909-CC82-10674722ED0F}"/>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nvGrpSpPr>
              <p:cNvPr id="37" name="Groep 36">
                <a:extLst>
                  <a:ext uri="{FF2B5EF4-FFF2-40B4-BE49-F238E27FC236}">
                    <a16:creationId xmlns:a16="http://schemas.microsoft.com/office/drawing/2014/main" id="{FEC46A2E-9D20-4FA8-F7A4-C20BD27E5E7B}"/>
                  </a:ext>
                </a:extLst>
              </p:cNvPr>
              <p:cNvGrpSpPr/>
              <p:nvPr userDrawn="1"/>
            </p:nvGrpSpPr>
            <p:grpSpPr>
              <a:xfrm>
                <a:off x="-3386247" y="830871"/>
                <a:ext cx="139423" cy="109566"/>
                <a:chOff x="-2866744" y="827071"/>
                <a:chExt cx="168701" cy="132575"/>
              </a:xfrm>
            </p:grpSpPr>
            <p:grpSp>
              <p:nvGrpSpPr>
                <p:cNvPr id="68" name="Groep 67">
                  <a:extLst>
                    <a:ext uri="{FF2B5EF4-FFF2-40B4-BE49-F238E27FC236}">
                      <a16:creationId xmlns:a16="http://schemas.microsoft.com/office/drawing/2014/main" id="{7049FD4F-08ED-975C-7DA2-BC473E7FC46B}"/>
                    </a:ext>
                  </a:extLst>
                </p:cNvPr>
                <p:cNvGrpSpPr/>
                <p:nvPr userDrawn="1"/>
              </p:nvGrpSpPr>
              <p:grpSpPr>
                <a:xfrm>
                  <a:off x="-2866744" y="827071"/>
                  <a:ext cx="168701" cy="132575"/>
                  <a:chOff x="-2866744" y="827071"/>
                  <a:chExt cx="168701" cy="132575"/>
                </a:xfrm>
              </p:grpSpPr>
              <p:cxnSp>
                <p:nvCxnSpPr>
                  <p:cNvPr id="70" name="Rechte verbindingslijn 69">
                    <a:extLst>
                      <a:ext uri="{FF2B5EF4-FFF2-40B4-BE49-F238E27FC236}">
                        <a16:creationId xmlns:a16="http://schemas.microsoft.com/office/drawing/2014/main" id="{0AF6DD3B-973A-0DEA-77F9-734B1A5651B4}"/>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ACE9BBCD-4BB5-6114-EF5B-029CF77DA972}"/>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FE5AF617-088E-D7F5-D048-0A05F293661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231C7913-2F01-067F-5D19-1F2F29B82927}"/>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4" name="Rechte verbindingslijn 73">
                    <a:extLst>
                      <a:ext uri="{FF2B5EF4-FFF2-40B4-BE49-F238E27FC236}">
                        <a16:creationId xmlns:a16="http://schemas.microsoft.com/office/drawing/2014/main" id="{07C6B1FD-A36D-C7CB-CAD2-268D8C0B45C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9" name="Pijl: rechts 68">
                  <a:extLst>
                    <a:ext uri="{FF2B5EF4-FFF2-40B4-BE49-F238E27FC236}">
                      <a16:creationId xmlns:a16="http://schemas.microsoft.com/office/drawing/2014/main" id="{761D36DB-E896-DBE8-2F21-A45C8DC3D8EA}"/>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38" name="Groep 37">
                <a:extLst>
                  <a:ext uri="{FF2B5EF4-FFF2-40B4-BE49-F238E27FC236}">
                    <a16:creationId xmlns:a16="http://schemas.microsoft.com/office/drawing/2014/main" id="{9ACDF483-978E-980C-0D51-5B8337BE2974}"/>
                  </a:ext>
                </a:extLst>
              </p:cNvPr>
              <p:cNvGrpSpPr/>
              <p:nvPr userDrawn="1"/>
            </p:nvGrpSpPr>
            <p:grpSpPr>
              <a:xfrm>
                <a:off x="-3605171" y="830871"/>
                <a:ext cx="139423" cy="109566"/>
                <a:chOff x="-2866744" y="518074"/>
                <a:chExt cx="168701" cy="132575"/>
              </a:xfrm>
            </p:grpSpPr>
            <p:grpSp>
              <p:nvGrpSpPr>
                <p:cNvPr id="61" name="Groep 60">
                  <a:extLst>
                    <a:ext uri="{FF2B5EF4-FFF2-40B4-BE49-F238E27FC236}">
                      <a16:creationId xmlns:a16="http://schemas.microsoft.com/office/drawing/2014/main" id="{94964C59-FAF8-3943-A45B-94C206858532}"/>
                    </a:ext>
                  </a:extLst>
                </p:cNvPr>
                <p:cNvGrpSpPr/>
                <p:nvPr userDrawn="1"/>
              </p:nvGrpSpPr>
              <p:grpSpPr>
                <a:xfrm>
                  <a:off x="-2866744" y="518074"/>
                  <a:ext cx="168701" cy="132575"/>
                  <a:chOff x="-2866744" y="518074"/>
                  <a:chExt cx="168701" cy="132575"/>
                </a:xfrm>
              </p:grpSpPr>
              <p:cxnSp>
                <p:nvCxnSpPr>
                  <p:cNvPr id="63" name="Rechte verbindingslijn 62">
                    <a:extLst>
                      <a:ext uri="{FF2B5EF4-FFF2-40B4-BE49-F238E27FC236}">
                        <a16:creationId xmlns:a16="http://schemas.microsoft.com/office/drawing/2014/main" id="{AB6C0930-C0AC-6399-A724-0018F63C0374}"/>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7A1D086C-702B-0326-C284-A4FDDC3ECD3E}"/>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09F5C946-5284-865B-4FA6-2C00C3193AA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E56F9BE3-23BC-5FC9-A87B-68A181C73923}"/>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67" name="Rechte verbindingslijn 66">
                    <a:extLst>
                      <a:ext uri="{FF2B5EF4-FFF2-40B4-BE49-F238E27FC236}">
                        <a16:creationId xmlns:a16="http://schemas.microsoft.com/office/drawing/2014/main" id="{BF96FD3A-5ED3-D6EF-F0C2-4820C00DC933}"/>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2" name="Pijl: rechts 61">
                  <a:extLst>
                    <a:ext uri="{FF2B5EF4-FFF2-40B4-BE49-F238E27FC236}">
                      <a16:creationId xmlns:a16="http://schemas.microsoft.com/office/drawing/2014/main" id="{9F327BC0-FC54-DCC9-D2FA-F9F6971B6B3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cxnSp>
            <p:nvCxnSpPr>
              <p:cNvPr id="39" name="Rechte verbindingslijn 38">
                <a:extLst>
                  <a:ext uri="{FF2B5EF4-FFF2-40B4-BE49-F238E27FC236}">
                    <a16:creationId xmlns:a16="http://schemas.microsoft.com/office/drawing/2014/main" id="{A09DF73C-4EB3-4F74-1105-3A7373D571C2}"/>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0" name="Rechte verbindingslijn 39">
                <a:extLst>
                  <a:ext uri="{FF2B5EF4-FFF2-40B4-BE49-F238E27FC236}">
                    <a16:creationId xmlns:a16="http://schemas.microsoft.com/office/drawing/2014/main" id="{24633D0E-C6B9-3EB1-DF72-4A27F0C29AC7}"/>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1" name="Rechthoek 40">
                <a:extLst>
                  <a:ext uri="{FF2B5EF4-FFF2-40B4-BE49-F238E27FC236}">
                    <a16:creationId xmlns:a16="http://schemas.microsoft.com/office/drawing/2014/main" id="{F4845361-6497-A62B-7F18-1D263E8A3DC1}"/>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2" name="Rechthoek 41">
                <a:extLst>
                  <a:ext uri="{FF2B5EF4-FFF2-40B4-BE49-F238E27FC236}">
                    <a16:creationId xmlns:a16="http://schemas.microsoft.com/office/drawing/2014/main" id="{8622DD5F-FDDA-B08D-5EA6-B463282A80F8}"/>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3" name="Groep 42">
                <a:extLst>
                  <a:ext uri="{FF2B5EF4-FFF2-40B4-BE49-F238E27FC236}">
                    <a16:creationId xmlns:a16="http://schemas.microsoft.com/office/drawing/2014/main" id="{EB79DE1F-EB47-1952-1AA5-4176EC59E2DC}"/>
                  </a:ext>
                </a:extLst>
              </p:cNvPr>
              <p:cNvGrpSpPr/>
              <p:nvPr userDrawn="1"/>
            </p:nvGrpSpPr>
            <p:grpSpPr>
              <a:xfrm>
                <a:off x="-2916763" y="769168"/>
                <a:ext cx="268738" cy="248381"/>
                <a:chOff x="-2916763" y="769168"/>
                <a:chExt cx="268738" cy="248381"/>
              </a:xfrm>
            </p:grpSpPr>
            <p:sp>
              <p:nvSpPr>
                <p:cNvPr id="53" name="Rechthoek 52">
                  <a:extLst>
                    <a:ext uri="{FF2B5EF4-FFF2-40B4-BE49-F238E27FC236}">
                      <a16:creationId xmlns:a16="http://schemas.microsoft.com/office/drawing/2014/main" id="{91AEB018-E6F8-8799-A6D9-F434B7D37DA9}"/>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54" name="Groep 53">
                  <a:extLst>
                    <a:ext uri="{FF2B5EF4-FFF2-40B4-BE49-F238E27FC236}">
                      <a16:creationId xmlns:a16="http://schemas.microsoft.com/office/drawing/2014/main" id="{8C9C44C7-8041-E5FE-48D5-DADFE9C5596D}"/>
                    </a:ext>
                  </a:extLst>
                </p:cNvPr>
                <p:cNvGrpSpPr/>
                <p:nvPr userDrawn="1"/>
              </p:nvGrpSpPr>
              <p:grpSpPr>
                <a:xfrm>
                  <a:off x="-2866744" y="827071"/>
                  <a:ext cx="168701" cy="132575"/>
                  <a:chOff x="-2866744" y="827071"/>
                  <a:chExt cx="168701" cy="132575"/>
                </a:xfrm>
              </p:grpSpPr>
              <p:cxnSp>
                <p:nvCxnSpPr>
                  <p:cNvPr id="56" name="Rechte verbindingslijn 55">
                    <a:extLst>
                      <a:ext uri="{FF2B5EF4-FFF2-40B4-BE49-F238E27FC236}">
                        <a16:creationId xmlns:a16="http://schemas.microsoft.com/office/drawing/2014/main" id="{5304AF9D-842D-2E50-1793-E9C76AA5FCC2}"/>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A280827D-2763-BB53-D105-D23CF2997B5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A870761A-B8DE-56D1-F438-617AA62022D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59" name="Rechte verbindingslijn 58">
                    <a:extLst>
                      <a:ext uri="{FF2B5EF4-FFF2-40B4-BE49-F238E27FC236}">
                        <a16:creationId xmlns:a16="http://schemas.microsoft.com/office/drawing/2014/main" id="{A4B7E099-3002-E8D1-C8CE-E10FA7E81938}"/>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0" name="Rechte verbindingslijn 59">
                    <a:extLst>
                      <a:ext uri="{FF2B5EF4-FFF2-40B4-BE49-F238E27FC236}">
                        <a16:creationId xmlns:a16="http://schemas.microsoft.com/office/drawing/2014/main" id="{5150A7E7-3105-EB42-923A-954E853877A5}"/>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55" name="Pijl: rechts 54">
                  <a:extLst>
                    <a:ext uri="{FF2B5EF4-FFF2-40B4-BE49-F238E27FC236}">
                      <a16:creationId xmlns:a16="http://schemas.microsoft.com/office/drawing/2014/main" id="{CD806A4B-FC25-F8D3-A491-44162427C4E2}"/>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0301886B-41AF-DECE-37D1-F79196212E7A}"/>
                  </a:ext>
                </a:extLst>
              </p:cNvPr>
              <p:cNvGrpSpPr/>
              <p:nvPr userDrawn="1"/>
            </p:nvGrpSpPr>
            <p:grpSpPr>
              <a:xfrm>
                <a:off x="-2916763" y="460171"/>
                <a:ext cx="268738" cy="248381"/>
                <a:chOff x="-2916763" y="460171"/>
                <a:chExt cx="268738" cy="248381"/>
              </a:xfrm>
            </p:grpSpPr>
            <p:sp>
              <p:nvSpPr>
                <p:cNvPr id="45" name="Rechthoek 44">
                  <a:extLst>
                    <a:ext uri="{FF2B5EF4-FFF2-40B4-BE49-F238E27FC236}">
                      <a16:creationId xmlns:a16="http://schemas.microsoft.com/office/drawing/2014/main" id="{362D7ECD-59F9-BFD5-E65B-E7F0B0D61237}"/>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a:solidFill>
                      <a:srgbClr val="211F26"/>
                    </a:solidFill>
                    <a:latin typeface="Calibri" panose="020F0502020204030204" pitchFamily="34" charset="0"/>
                    <a:cs typeface="Calibri" panose="020F0502020204030204" pitchFamily="34" charset="0"/>
                  </a:endParaRPr>
                </a:p>
              </p:txBody>
            </p:sp>
            <p:grpSp>
              <p:nvGrpSpPr>
                <p:cNvPr id="46" name="Groep 45">
                  <a:extLst>
                    <a:ext uri="{FF2B5EF4-FFF2-40B4-BE49-F238E27FC236}">
                      <a16:creationId xmlns:a16="http://schemas.microsoft.com/office/drawing/2014/main" id="{04860C82-A586-61FA-2628-FC25904E1CFC}"/>
                    </a:ext>
                  </a:extLst>
                </p:cNvPr>
                <p:cNvGrpSpPr/>
                <p:nvPr userDrawn="1"/>
              </p:nvGrpSpPr>
              <p:grpSpPr>
                <a:xfrm>
                  <a:off x="-2866744" y="518074"/>
                  <a:ext cx="168701" cy="132575"/>
                  <a:chOff x="-2866744" y="518074"/>
                  <a:chExt cx="168701" cy="132575"/>
                </a:xfrm>
              </p:grpSpPr>
              <p:cxnSp>
                <p:nvCxnSpPr>
                  <p:cNvPr id="48" name="Rechte verbindingslijn 47">
                    <a:extLst>
                      <a:ext uri="{FF2B5EF4-FFF2-40B4-BE49-F238E27FC236}">
                        <a16:creationId xmlns:a16="http://schemas.microsoft.com/office/drawing/2014/main" id="{22A0212E-727F-774A-2406-B57B044284B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49" name="Rechte verbindingslijn 48">
                    <a:extLst>
                      <a:ext uri="{FF2B5EF4-FFF2-40B4-BE49-F238E27FC236}">
                        <a16:creationId xmlns:a16="http://schemas.microsoft.com/office/drawing/2014/main" id="{9068A090-D8DC-81A5-BAF0-B6CC83D688CE}"/>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0" name="Rechte verbindingslijn 49">
                    <a:extLst>
                      <a:ext uri="{FF2B5EF4-FFF2-40B4-BE49-F238E27FC236}">
                        <a16:creationId xmlns:a16="http://schemas.microsoft.com/office/drawing/2014/main" id="{8428BAED-37DE-DB4F-A266-7111D4170B65}"/>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1" name="Rechte verbindingslijn 50">
                    <a:extLst>
                      <a:ext uri="{FF2B5EF4-FFF2-40B4-BE49-F238E27FC236}">
                        <a16:creationId xmlns:a16="http://schemas.microsoft.com/office/drawing/2014/main" id="{C70ED4B3-01AE-6CFE-7552-5E7F99DBFACE}"/>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2" name="Rechte verbindingslijn 51">
                    <a:extLst>
                      <a:ext uri="{FF2B5EF4-FFF2-40B4-BE49-F238E27FC236}">
                        <a16:creationId xmlns:a16="http://schemas.microsoft.com/office/drawing/2014/main" id="{4BA07DFC-D8C6-9C6D-B8EC-002295761EC6}"/>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47" name="Pijl: rechts 46">
                  <a:extLst>
                    <a:ext uri="{FF2B5EF4-FFF2-40B4-BE49-F238E27FC236}">
                      <a16:creationId xmlns:a16="http://schemas.microsoft.com/office/drawing/2014/main" id="{C31F9860-16A0-5610-5B16-E74A0E3C0D6D}"/>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a:solidFill>
                      <a:srgbClr val="211F26"/>
                    </a:solidFill>
                    <a:latin typeface="Calibri" panose="020F0502020204030204" pitchFamily="34" charset="0"/>
                    <a:cs typeface="Calibri" panose="020F0502020204030204" pitchFamily="34" charset="0"/>
                  </a:endParaRPr>
                </a:p>
              </p:txBody>
            </p:sp>
          </p:grpSp>
        </p:grpSp>
        <p:grpSp>
          <p:nvGrpSpPr>
            <p:cNvPr id="29" name="Groep 28">
              <a:extLst>
                <a:ext uri="{FF2B5EF4-FFF2-40B4-BE49-F238E27FC236}">
                  <a16:creationId xmlns:a16="http://schemas.microsoft.com/office/drawing/2014/main" id="{5C056148-69B4-5B46-7DCE-079FC5B8BE2A}"/>
                </a:ext>
              </a:extLst>
            </p:cNvPr>
            <p:cNvGrpSpPr/>
            <p:nvPr userDrawn="1"/>
          </p:nvGrpSpPr>
          <p:grpSpPr>
            <a:xfrm>
              <a:off x="-938434" y="4663037"/>
              <a:ext cx="627798" cy="576693"/>
              <a:chOff x="-1753862" y="6112775"/>
              <a:chExt cx="759635" cy="697798"/>
            </a:xfrm>
          </p:grpSpPr>
          <p:grpSp>
            <p:nvGrpSpPr>
              <p:cNvPr id="30" name="Inspireren">
                <a:extLst>
                  <a:ext uri="{FF2B5EF4-FFF2-40B4-BE49-F238E27FC236}">
                    <a16:creationId xmlns:a16="http://schemas.microsoft.com/office/drawing/2014/main" id="{5A3EF209-293C-D6C5-60CF-150EFB45B718}"/>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2" name="Freeform 12">
                  <a:extLst>
                    <a:ext uri="{FF2B5EF4-FFF2-40B4-BE49-F238E27FC236}">
                      <a16:creationId xmlns:a16="http://schemas.microsoft.com/office/drawing/2014/main" id="{187B7565-C36A-C54F-814D-1DF417C81A4D}"/>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Segoe UI Light"/>
                  </a:endParaRPr>
                </a:p>
              </p:txBody>
            </p:sp>
            <p:sp>
              <p:nvSpPr>
                <p:cNvPr id="33" name="Freeform 13">
                  <a:extLst>
                    <a:ext uri="{FF2B5EF4-FFF2-40B4-BE49-F238E27FC236}">
                      <a16:creationId xmlns:a16="http://schemas.microsoft.com/office/drawing/2014/main" id="{7F9DFCF6-6A46-4F28-3846-94769F158D23}"/>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Segoe UI Light"/>
                  </a:endParaRPr>
                </a:p>
              </p:txBody>
            </p:sp>
            <p:sp>
              <p:nvSpPr>
                <p:cNvPr id="34" name="Freeform 14">
                  <a:extLst>
                    <a:ext uri="{FF2B5EF4-FFF2-40B4-BE49-F238E27FC236}">
                      <a16:creationId xmlns:a16="http://schemas.microsoft.com/office/drawing/2014/main" id="{DE61582A-9E25-7D73-0D96-4723ACE0370A}"/>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a:ln>
                      <a:noFill/>
                    </a:ln>
                    <a:solidFill>
                      <a:srgbClr val="211F26"/>
                    </a:solidFill>
                    <a:effectLst/>
                    <a:uLnTx/>
                    <a:uFillTx/>
                    <a:latin typeface="Segoe UI Light"/>
                  </a:endParaRPr>
                </a:p>
              </p:txBody>
            </p:sp>
          </p:grpSp>
          <p:sp>
            <p:nvSpPr>
              <p:cNvPr id="31" name="Tekstvak 30">
                <a:extLst>
                  <a:ext uri="{FF2B5EF4-FFF2-40B4-BE49-F238E27FC236}">
                    <a16:creationId xmlns:a16="http://schemas.microsoft.com/office/drawing/2014/main" id="{30335EFB-63FC-A852-CD89-89586C36011E}"/>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Tree>
    <p:extLst>
      <p:ext uri="{BB962C8B-B14F-4D97-AF65-F5344CB8AC3E}">
        <p14:creationId xmlns:p14="http://schemas.microsoft.com/office/powerpoint/2010/main" val="32015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ext #1 - ZI">
    <p:spTree>
      <p:nvGrpSpPr>
        <p:cNvPr id="1" name=""/>
        <p:cNvGrpSpPr/>
        <p:nvPr/>
      </p:nvGrpSpPr>
      <p:grpSpPr>
        <a:xfrm>
          <a:off x="0" y="0"/>
          <a:ext cx="0" cy="0"/>
          <a:chOff x="0" y="0"/>
          <a:chExt cx="0" cy="0"/>
        </a:xfrm>
      </p:grpSpPr>
      <p:sp>
        <p:nvSpPr>
          <p:cNvPr id="9" name="Rechthoek: afgeronde hoeken 8">
            <a:extLst>
              <a:ext uri="{FF2B5EF4-FFF2-40B4-BE49-F238E27FC236}">
                <a16:creationId xmlns:a16="http://schemas.microsoft.com/office/drawing/2014/main" id="{E48AD39F-D1BD-4A94-927C-E2D6B75091D7}"/>
              </a:ext>
            </a:extLst>
          </p:cNvPr>
          <p:cNvSpPr/>
          <p:nvPr userDrawn="1"/>
        </p:nvSpPr>
        <p:spPr>
          <a:xfrm>
            <a:off x="0" y="-367937"/>
            <a:ext cx="600998" cy="24622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en-GB" sz="1600" b="1" cap="none" baseline="0" noProof="0">
                <a:solidFill>
                  <a:schemeClr val="accent1"/>
                </a:solidFill>
                <a:latin typeface="+mj-lt"/>
              </a:rPr>
              <a:t>Text #1</a:t>
            </a:r>
          </a:p>
        </p:txBody>
      </p:sp>
      <p:sp>
        <p:nvSpPr>
          <p:cNvPr id="11" name="Tijdelijke aanduiding voor tekst 15">
            <a:extLst>
              <a:ext uri="{FF2B5EF4-FFF2-40B4-BE49-F238E27FC236}">
                <a16:creationId xmlns:a16="http://schemas.microsoft.com/office/drawing/2014/main" id="{44E27EC2-81EE-5DE0-2BEB-2F38F88501FB}"/>
              </a:ext>
            </a:extLst>
          </p:cNvPr>
          <p:cNvSpPr>
            <a:spLocks noGrp="1"/>
          </p:cNvSpPr>
          <p:nvPr>
            <p:ph type="body" sz="quarter" idx="14" hasCustomPrompt="1"/>
          </p:nvPr>
        </p:nvSpPr>
        <p:spPr>
          <a:xfrm>
            <a:off x="720000" y="6060536"/>
            <a:ext cx="932400" cy="475200"/>
          </a:xfrm>
          <a:blipFill>
            <a:blip r:embed="rId2"/>
            <a:stretch>
              <a:fillRect/>
            </a:stretch>
          </a:blipFill>
        </p:spPr>
        <p:txBody>
          <a:bodyPr/>
          <a:lstStyle>
            <a:lvl1pPr marL="0" indent="0">
              <a:buNone/>
              <a:defRPr sz="100"/>
            </a:lvl1pPr>
          </a:lstStyle>
          <a:p>
            <a:pPr lvl="0"/>
            <a:r>
              <a:rPr lang="en-GB"/>
              <a:t> </a:t>
            </a:r>
          </a:p>
        </p:txBody>
      </p:sp>
      <p:sp>
        <p:nvSpPr>
          <p:cNvPr id="92" name="Tijdelijke aanduiding voor tekst 12">
            <a:extLst>
              <a:ext uri="{FF2B5EF4-FFF2-40B4-BE49-F238E27FC236}">
                <a16:creationId xmlns:a16="http://schemas.microsoft.com/office/drawing/2014/main" id="{24E34CC7-AE46-F291-A9D4-1A35660FE538}"/>
              </a:ext>
            </a:extLst>
          </p:cNvPr>
          <p:cNvSpPr>
            <a:spLocks noGrp="1"/>
          </p:cNvSpPr>
          <p:nvPr>
            <p:ph type="body" sz="quarter" idx="18" hasCustomPrompt="1"/>
          </p:nvPr>
        </p:nvSpPr>
        <p:spPr>
          <a:xfrm>
            <a:off x="708207" y="707795"/>
            <a:ext cx="36000" cy="396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buNone/>
              <a:defRPr sz="100"/>
            </a:lvl1pPr>
          </a:lstStyle>
          <a:p>
            <a:pPr lvl="0"/>
            <a:r>
              <a:rPr lang="en-GB"/>
              <a:t> </a:t>
            </a:r>
          </a:p>
        </p:txBody>
      </p:sp>
      <p:sp>
        <p:nvSpPr>
          <p:cNvPr id="93" name="Tijdelijke aanduiding voor titel 1">
            <a:extLst>
              <a:ext uri="{FF2B5EF4-FFF2-40B4-BE49-F238E27FC236}">
                <a16:creationId xmlns:a16="http://schemas.microsoft.com/office/drawing/2014/main" id="{F9DB1A5B-74FB-7FED-54E6-CE4B949D308C}"/>
              </a:ext>
            </a:extLst>
          </p:cNvPr>
          <p:cNvSpPr>
            <a:spLocks noGrp="1"/>
          </p:cNvSpPr>
          <p:nvPr>
            <p:ph type="title" hasCustomPrompt="1"/>
          </p:nvPr>
        </p:nvSpPr>
        <p:spPr>
          <a:xfrm>
            <a:off x="865162" y="722313"/>
            <a:ext cx="10559000" cy="342211"/>
          </a:xfrm>
          <a:prstGeom prst="rect">
            <a:avLst/>
          </a:prstGeom>
        </p:spPr>
        <p:txBody>
          <a:bodyPr vert="horz" lIns="0" tIns="0" rIns="0" bIns="0" rtlCol="0" anchor="t">
            <a:noAutofit/>
          </a:bodyPr>
          <a:lstStyle/>
          <a:p>
            <a:r>
              <a:rPr lang="en-GB" noProof="0"/>
              <a:t>Place the title of the slide here</a:t>
            </a:r>
          </a:p>
        </p:txBody>
      </p:sp>
      <p:sp>
        <p:nvSpPr>
          <p:cNvPr id="4" name="Tijdelijke aanduiding voor tekst 2">
            <a:extLst>
              <a:ext uri="{FF2B5EF4-FFF2-40B4-BE49-F238E27FC236}">
                <a16:creationId xmlns:a16="http://schemas.microsoft.com/office/drawing/2014/main" id="{3649715A-38D2-03F3-4957-40291419259B}"/>
              </a:ext>
            </a:extLst>
          </p:cNvPr>
          <p:cNvSpPr>
            <a:spLocks noGrp="1"/>
          </p:cNvSpPr>
          <p:nvPr>
            <p:ph idx="19" hasCustomPrompt="1"/>
          </p:nvPr>
        </p:nvSpPr>
        <p:spPr>
          <a:xfrm>
            <a:off x="865162" y="1592262"/>
            <a:ext cx="7428606" cy="4060393"/>
          </a:xfrm>
          <a:prstGeom prst="rect">
            <a:avLst/>
          </a:prstGeom>
        </p:spPr>
        <p:txBody>
          <a:bodyPr vert="horz" lIns="0" tIns="0" rIns="0" bIns="0" rtlCol="0">
            <a:noAutofit/>
          </a:bodyPr>
          <a:lstStyle/>
          <a:p>
            <a:pPr lvl="0"/>
            <a:r>
              <a:rPr lang="en-GB" noProof="0"/>
              <a:t>Plain text #1</a:t>
            </a:r>
          </a:p>
          <a:p>
            <a:pPr lvl="1"/>
            <a:r>
              <a:rPr lang="en-GB" noProof="0"/>
              <a:t>Plain text #2</a:t>
            </a:r>
          </a:p>
          <a:p>
            <a:pPr lvl="2"/>
            <a:r>
              <a:rPr lang="en-GB" noProof="0"/>
              <a:t>Heading #1</a:t>
            </a:r>
          </a:p>
          <a:p>
            <a:pPr lvl="3"/>
            <a:r>
              <a:rPr lang="en-GB" noProof="0" err="1"/>
              <a:t>Tekst</a:t>
            </a:r>
            <a:endParaRPr lang="en-GB" noProof="0"/>
          </a:p>
          <a:p>
            <a:pPr lvl="4"/>
            <a:r>
              <a:rPr lang="en-GB" noProof="0"/>
              <a:t>Heading #3</a:t>
            </a:r>
          </a:p>
          <a:p>
            <a:pPr lvl="5"/>
            <a:r>
              <a:rPr lang="en-GB" noProof="0"/>
              <a:t>Heading #4</a:t>
            </a:r>
          </a:p>
          <a:p>
            <a:pPr lvl="6"/>
            <a:r>
              <a:rPr lang="en-GB" noProof="0"/>
              <a:t>Numbers</a:t>
            </a:r>
          </a:p>
          <a:p>
            <a:pPr lvl="7"/>
            <a:r>
              <a:rPr lang="en-GB" noProof="0"/>
              <a:t>Letters</a:t>
            </a:r>
          </a:p>
          <a:p>
            <a:pPr marL="0" marR="0" lvl="8" indent="0" algn="l" defTabSz="914400" rtl="0" eaLnBrk="1" fontAlgn="auto" latinLnBrk="0" hangingPunct="1">
              <a:lnSpc>
                <a:spcPct val="90000"/>
              </a:lnSpc>
              <a:spcBef>
                <a:spcPts val="600"/>
              </a:spcBef>
              <a:spcAft>
                <a:spcPts val="600"/>
              </a:spcAft>
              <a:buClr>
                <a:schemeClr val="tx2"/>
              </a:buClr>
              <a:buSzTx/>
              <a:buFontTx/>
              <a:buNone/>
              <a:tabLst/>
              <a:defRPr/>
            </a:pPr>
            <a:r>
              <a:rPr lang="en-GB" noProof="0" err="1"/>
              <a:t>Bronvermelding</a:t>
            </a:r>
            <a:endParaRPr lang="en-GB" noProof="0"/>
          </a:p>
        </p:txBody>
      </p:sp>
    </p:spTree>
    <p:extLst>
      <p:ext uri="{BB962C8B-B14F-4D97-AF65-F5344CB8AC3E}">
        <p14:creationId xmlns:p14="http://schemas.microsoft.com/office/powerpoint/2010/main" val="3150285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1 - ZI">
    <p:spTree>
      <p:nvGrpSpPr>
        <p:cNvPr id="1" name=""/>
        <p:cNvGrpSpPr/>
        <p:nvPr/>
      </p:nvGrpSpPr>
      <p:grpSpPr>
        <a:xfrm>
          <a:off x="0" y="0"/>
          <a:ext cx="0" cy="0"/>
          <a:chOff x="0" y="0"/>
          <a:chExt cx="0" cy="0"/>
        </a:xfrm>
      </p:grpSpPr>
      <p:sp>
        <p:nvSpPr>
          <p:cNvPr id="88" name="Tijdelijke aanduiding voor tekst 10">
            <a:extLst>
              <a:ext uri="{FF2B5EF4-FFF2-40B4-BE49-F238E27FC236}">
                <a16:creationId xmlns:a16="http://schemas.microsoft.com/office/drawing/2014/main" id="{4F355F90-7B3D-D76D-A38B-5F63BAFE37E3}"/>
              </a:ext>
            </a:extLst>
          </p:cNvPr>
          <p:cNvSpPr txBox="1">
            <a:spLocks/>
          </p:cNvSpPr>
          <p:nvPr userDrawn="1"/>
        </p:nvSpPr>
        <p:spPr>
          <a:xfrm>
            <a:off x="714375" y="1385455"/>
            <a:ext cx="7810987" cy="4420752"/>
          </a:xfrm>
          <a:prstGeom prst="roundRect">
            <a:avLst>
              <a:gd name="adj" fmla="val 3563"/>
            </a:avLst>
          </a:prstGeom>
          <a:solidFill>
            <a:schemeClr val="accent1">
              <a:alpha val="20000"/>
            </a:schemeClr>
          </a:solidFill>
          <a:ln>
            <a:noFill/>
          </a:ln>
        </p:spPr>
        <p:txBody>
          <a:bodyPr wrap="square">
            <a:noAutofit/>
          </a:bodyPr>
          <a:lstStyle>
            <a:lvl1pPr marL="0" indent="0" algn="l" defTabSz="914400" rtl="0" eaLnBrk="1" latinLnBrk="0" hangingPunct="1">
              <a:lnSpc>
                <a:spcPct val="90000"/>
              </a:lnSpc>
              <a:spcBef>
                <a:spcPts val="600"/>
              </a:spcBef>
              <a:spcAft>
                <a:spcPts val="600"/>
              </a:spcAft>
              <a:buClr>
                <a:schemeClr val="accent1"/>
              </a:buClr>
              <a:buSzPct val="110000"/>
              <a:buFont typeface="Aptos" panose="020B0004020202020204" pitchFamily="34" charset="0"/>
              <a:buNone/>
              <a:defRPr sz="100" kern="1200">
                <a:solidFill>
                  <a:schemeClr val="tx1"/>
                </a:solidFill>
                <a:latin typeface="+mn-lt"/>
                <a:ea typeface="+mn-ea"/>
                <a:cs typeface="+mn-cs"/>
              </a:defRPr>
            </a:lvl1pPr>
            <a:lvl2pPr marL="355600" indent="-177800" algn="l" defTabSz="914400" rtl="0" eaLnBrk="1" latinLnBrk="0" hangingPunct="1">
              <a:lnSpc>
                <a:spcPct val="90000"/>
              </a:lnSpc>
              <a:spcBef>
                <a:spcPts val="600"/>
              </a:spcBef>
              <a:spcAft>
                <a:spcPts val="600"/>
              </a:spcAft>
              <a:buClr>
                <a:schemeClr val="tx2"/>
              </a:buClr>
              <a:buFont typeface="Aptos" panose="020B0004020202020204" pitchFamily="34" charset="0"/>
              <a:buChar char="•"/>
              <a:tabLst/>
              <a:defRPr sz="1600" kern="1200">
                <a:solidFill>
                  <a:schemeClr val="tx1"/>
                </a:solidFill>
                <a:latin typeface="+mn-lt"/>
                <a:ea typeface="+mn-ea"/>
                <a:cs typeface="+mn-cs"/>
              </a:defRPr>
            </a:lvl2pPr>
            <a:lvl3pPr marL="531813" indent="-176213"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1600" kern="1200">
                <a:solidFill>
                  <a:schemeClr val="tx1"/>
                </a:solidFill>
                <a:latin typeface="+mn-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5"/>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2"/>
                </a:solidFill>
                <a:latin typeface="+mj-lt"/>
                <a:ea typeface="+mn-ea"/>
                <a:cs typeface="+mn-cs"/>
              </a:defRPr>
            </a:lvl6pPr>
            <a:lvl7pPr marL="342900" indent="-342900" algn="l" defTabSz="914400" rtl="0" eaLnBrk="1" latinLnBrk="0" hangingPunct="1">
              <a:lnSpc>
                <a:spcPct val="90000"/>
              </a:lnSpc>
              <a:spcBef>
                <a:spcPts val="600"/>
              </a:spcBef>
              <a:spcAft>
                <a:spcPts val="600"/>
              </a:spcAft>
              <a:buClr>
                <a:schemeClr val="tx2"/>
              </a:buClr>
              <a:buFont typeface="+mj-lt"/>
              <a:buAutoNum type="arabicPeriod"/>
              <a:tabLst/>
              <a:defRPr sz="1600" kern="1200">
                <a:solidFill>
                  <a:schemeClr val="tx1"/>
                </a:solidFill>
                <a:latin typeface="+mn-lt"/>
                <a:ea typeface="+mn-ea"/>
                <a:cs typeface="+mn-cs"/>
              </a:defRPr>
            </a:lvl7pPr>
            <a:lvl8pPr marL="342900" indent="-342900" algn="l" defTabSz="914400" rtl="0" eaLnBrk="1" latinLnBrk="0" hangingPunct="1">
              <a:lnSpc>
                <a:spcPct val="90000"/>
              </a:lnSpc>
              <a:spcBef>
                <a:spcPts val="600"/>
              </a:spcBef>
              <a:spcAft>
                <a:spcPts val="600"/>
              </a:spcAft>
              <a:buClr>
                <a:schemeClr val="tx2"/>
              </a:buClr>
              <a:buFont typeface="+mj-lt"/>
              <a:buAutoNum type="alphaLcPeriod"/>
              <a:defRPr sz="1600" kern="1200">
                <a:solidFill>
                  <a:schemeClr val="tx1"/>
                </a:solidFill>
                <a:latin typeface="+mn-lt"/>
                <a:ea typeface="+mn-ea"/>
                <a:cs typeface="+mn-cs"/>
              </a:defRPr>
            </a:lvl8pPr>
            <a:lvl9pPr marL="541338" indent="-180975"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600" i="0" kern="1200">
                <a:solidFill>
                  <a:schemeClr val="tx1"/>
                </a:solidFill>
                <a:latin typeface="+mn-lt"/>
                <a:ea typeface="+mn-ea"/>
                <a:cs typeface="+mn-cs"/>
              </a:defRPr>
            </a:lvl9pPr>
          </a:lstStyle>
          <a:p>
            <a:r>
              <a:rPr lang="en-GB"/>
              <a:t> </a:t>
            </a:r>
          </a:p>
        </p:txBody>
      </p:sp>
      <p:sp>
        <p:nvSpPr>
          <p:cNvPr id="9" name="Rechthoek: afgeronde hoeken 8">
            <a:extLst>
              <a:ext uri="{FF2B5EF4-FFF2-40B4-BE49-F238E27FC236}">
                <a16:creationId xmlns:a16="http://schemas.microsoft.com/office/drawing/2014/main" id="{E48AD39F-D1BD-4A94-927C-E2D6B75091D7}"/>
              </a:ext>
            </a:extLst>
          </p:cNvPr>
          <p:cNvSpPr/>
          <p:nvPr userDrawn="1"/>
        </p:nvSpPr>
        <p:spPr>
          <a:xfrm>
            <a:off x="0" y="-367937"/>
            <a:ext cx="600998" cy="24622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en-GB" sz="1600" b="1" cap="none" baseline="0" noProof="0">
                <a:solidFill>
                  <a:schemeClr val="accent1"/>
                </a:solidFill>
                <a:latin typeface="+mj-lt"/>
              </a:rPr>
              <a:t>Text #2</a:t>
            </a:r>
          </a:p>
        </p:txBody>
      </p:sp>
      <p:sp>
        <p:nvSpPr>
          <p:cNvPr id="11" name="Tijdelijke aanduiding voor tekst 15">
            <a:extLst>
              <a:ext uri="{FF2B5EF4-FFF2-40B4-BE49-F238E27FC236}">
                <a16:creationId xmlns:a16="http://schemas.microsoft.com/office/drawing/2014/main" id="{44E27EC2-81EE-5DE0-2BEB-2F38F88501FB}"/>
              </a:ext>
            </a:extLst>
          </p:cNvPr>
          <p:cNvSpPr>
            <a:spLocks noGrp="1"/>
          </p:cNvSpPr>
          <p:nvPr>
            <p:ph type="body" sz="quarter" idx="14" hasCustomPrompt="1"/>
          </p:nvPr>
        </p:nvSpPr>
        <p:spPr>
          <a:xfrm>
            <a:off x="720000" y="6060536"/>
            <a:ext cx="932400" cy="475200"/>
          </a:xfrm>
          <a:blipFill>
            <a:blip r:embed="rId2"/>
            <a:stretch>
              <a:fillRect/>
            </a:stretch>
          </a:blipFill>
        </p:spPr>
        <p:txBody>
          <a:bodyPr/>
          <a:lstStyle>
            <a:lvl1pPr marL="0" indent="0">
              <a:buNone/>
              <a:defRPr sz="100"/>
            </a:lvl1pPr>
          </a:lstStyle>
          <a:p>
            <a:pPr lvl="0"/>
            <a:r>
              <a:rPr lang="en-GB"/>
              <a:t> </a:t>
            </a:r>
          </a:p>
        </p:txBody>
      </p:sp>
      <p:sp>
        <p:nvSpPr>
          <p:cNvPr id="92" name="Tijdelijke aanduiding voor tekst 12">
            <a:extLst>
              <a:ext uri="{FF2B5EF4-FFF2-40B4-BE49-F238E27FC236}">
                <a16:creationId xmlns:a16="http://schemas.microsoft.com/office/drawing/2014/main" id="{24E34CC7-AE46-F291-A9D4-1A35660FE538}"/>
              </a:ext>
            </a:extLst>
          </p:cNvPr>
          <p:cNvSpPr>
            <a:spLocks noGrp="1"/>
          </p:cNvSpPr>
          <p:nvPr>
            <p:ph type="body" sz="quarter" idx="18" hasCustomPrompt="1"/>
          </p:nvPr>
        </p:nvSpPr>
        <p:spPr>
          <a:xfrm>
            <a:off x="708207" y="707795"/>
            <a:ext cx="36000" cy="396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buNone/>
              <a:defRPr sz="100"/>
            </a:lvl1pPr>
          </a:lstStyle>
          <a:p>
            <a:pPr lvl="0"/>
            <a:r>
              <a:rPr lang="en-GB"/>
              <a:t> </a:t>
            </a:r>
          </a:p>
        </p:txBody>
      </p:sp>
      <p:sp>
        <p:nvSpPr>
          <p:cNvPr id="93" name="Tijdelijke aanduiding voor titel 1">
            <a:extLst>
              <a:ext uri="{FF2B5EF4-FFF2-40B4-BE49-F238E27FC236}">
                <a16:creationId xmlns:a16="http://schemas.microsoft.com/office/drawing/2014/main" id="{F9DB1A5B-74FB-7FED-54E6-CE4B949D308C}"/>
              </a:ext>
            </a:extLst>
          </p:cNvPr>
          <p:cNvSpPr>
            <a:spLocks noGrp="1"/>
          </p:cNvSpPr>
          <p:nvPr>
            <p:ph type="title" hasCustomPrompt="1"/>
          </p:nvPr>
        </p:nvSpPr>
        <p:spPr>
          <a:xfrm>
            <a:off x="865162" y="722313"/>
            <a:ext cx="10559000" cy="342211"/>
          </a:xfrm>
          <a:prstGeom prst="rect">
            <a:avLst/>
          </a:prstGeom>
        </p:spPr>
        <p:txBody>
          <a:bodyPr vert="horz" lIns="0" tIns="0" rIns="0" bIns="0" rtlCol="0" anchor="t">
            <a:noAutofit/>
          </a:bodyPr>
          <a:lstStyle/>
          <a:p>
            <a:r>
              <a:rPr lang="en-GB" noProof="0"/>
              <a:t>Place the title of the slide here</a:t>
            </a:r>
          </a:p>
        </p:txBody>
      </p:sp>
      <p:sp>
        <p:nvSpPr>
          <p:cNvPr id="3" name="Tijdelijke aanduiding voor tekst 2">
            <a:extLst>
              <a:ext uri="{FF2B5EF4-FFF2-40B4-BE49-F238E27FC236}">
                <a16:creationId xmlns:a16="http://schemas.microsoft.com/office/drawing/2014/main" id="{A3B99B49-BB87-512B-775C-601E396370B1}"/>
              </a:ext>
            </a:extLst>
          </p:cNvPr>
          <p:cNvSpPr>
            <a:spLocks noGrp="1"/>
          </p:cNvSpPr>
          <p:nvPr>
            <p:ph idx="1"/>
          </p:nvPr>
        </p:nvSpPr>
        <p:spPr>
          <a:xfrm>
            <a:off x="989154" y="1592262"/>
            <a:ext cx="7208362" cy="4029913"/>
          </a:xfrm>
          <a:prstGeom prst="rect">
            <a:avLst/>
          </a:prstGeom>
        </p:spPr>
        <p:txBody>
          <a:bodyPr vert="horz" lIns="0" tIns="0" rIns="0" bIns="0" rtlCol="0">
            <a:noAutofit/>
          </a:bodyPr>
          <a:lstStyle/>
          <a:p>
            <a:pPr lvl="0"/>
            <a:r>
              <a:rPr lang="en-GB" noProof="0"/>
              <a:t>Plain text #1</a:t>
            </a:r>
          </a:p>
          <a:p>
            <a:pPr lvl="1"/>
            <a:r>
              <a:rPr lang="en-GB" noProof="0"/>
              <a:t>Plain text #2</a:t>
            </a:r>
          </a:p>
          <a:p>
            <a:pPr lvl="2"/>
            <a:r>
              <a:rPr lang="en-GB" noProof="0"/>
              <a:t>Heading #1</a:t>
            </a:r>
          </a:p>
          <a:p>
            <a:pPr lvl="3"/>
            <a:r>
              <a:rPr lang="en-GB" noProof="0" err="1"/>
              <a:t>Tekst</a:t>
            </a:r>
            <a:endParaRPr lang="en-GB" noProof="0"/>
          </a:p>
          <a:p>
            <a:pPr lvl="4"/>
            <a:r>
              <a:rPr lang="en-GB" noProof="0"/>
              <a:t>Heading #3</a:t>
            </a:r>
          </a:p>
          <a:p>
            <a:pPr lvl="5"/>
            <a:r>
              <a:rPr lang="en-GB" noProof="0"/>
              <a:t>Heading #4</a:t>
            </a:r>
          </a:p>
          <a:p>
            <a:pPr lvl="6"/>
            <a:r>
              <a:rPr lang="en-GB" noProof="0"/>
              <a:t>Numbers</a:t>
            </a:r>
          </a:p>
          <a:p>
            <a:pPr lvl="7"/>
            <a:r>
              <a:rPr lang="en-GB" noProof="0"/>
              <a:t>Letters</a:t>
            </a:r>
          </a:p>
          <a:p>
            <a:pPr marL="0" marR="0" lvl="8" indent="0" algn="l" defTabSz="914400" rtl="0" eaLnBrk="1" fontAlgn="auto" latinLnBrk="0" hangingPunct="1">
              <a:lnSpc>
                <a:spcPct val="90000"/>
              </a:lnSpc>
              <a:spcBef>
                <a:spcPts val="600"/>
              </a:spcBef>
              <a:spcAft>
                <a:spcPts val="600"/>
              </a:spcAft>
              <a:buClr>
                <a:schemeClr val="tx2"/>
              </a:buClr>
              <a:buSzTx/>
              <a:buFontTx/>
              <a:buNone/>
              <a:tabLst/>
              <a:defRPr/>
            </a:pPr>
            <a:r>
              <a:rPr lang="en-GB" noProof="0" err="1"/>
              <a:t>Bronvermelding</a:t>
            </a:r>
            <a:endParaRPr lang="en-GB" noProof="0"/>
          </a:p>
        </p:txBody>
      </p:sp>
    </p:spTree>
    <p:extLst>
      <p:ext uri="{BB962C8B-B14F-4D97-AF65-F5344CB8AC3E}">
        <p14:creationId xmlns:p14="http://schemas.microsoft.com/office/powerpoint/2010/main" val="402545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2 - ZI">
    <p:spTree>
      <p:nvGrpSpPr>
        <p:cNvPr id="1" name=""/>
        <p:cNvGrpSpPr/>
        <p:nvPr/>
      </p:nvGrpSpPr>
      <p:grpSpPr>
        <a:xfrm>
          <a:off x="0" y="0"/>
          <a:ext cx="0" cy="0"/>
          <a:chOff x="0" y="0"/>
          <a:chExt cx="0" cy="0"/>
        </a:xfrm>
      </p:grpSpPr>
      <p:sp>
        <p:nvSpPr>
          <p:cNvPr id="16" name="Tijdelijke aanduiding voor tekst 10">
            <a:extLst>
              <a:ext uri="{FF2B5EF4-FFF2-40B4-BE49-F238E27FC236}">
                <a16:creationId xmlns:a16="http://schemas.microsoft.com/office/drawing/2014/main" id="{BEA26A03-DB99-8B63-4EE4-824A4ADCB08A}"/>
              </a:ext>
            </a:extLst>
          </p:cNvPr>
          <p:cNvSpPr txBox="1">
            <a:spLocks/>
          </p:cNvSpPr>
          <p:nvPr userDrawn="1"/>
        </p:nvSpPr>
        <p:spPr>
          <a:xfrm>
            <a:off x="193040" y="225424"/>
            <a:ext cx="11805920" cy="6424295"/>
          </a:xfrm>
          <a:prstGeom prst="roundRect">
            <a:avLst>
              <a:gd name="adj" fmla="val 3563"/>
            </a:avLst>
          </a:prstGeom>
          <a:solidFill>
            <a:schemeClr val="accent2"/>
          </a:solidFill>
        </p:spPr>
        <p:txBody>
          <a:bodyPr wrap="square">
            <a:noAutofit/>
          </a:bodyPr>
          <a:lstStyle>
            <a:lvl1pPr marL="0" indent="0" algn="l" defTabSz="914400" rtl="0" eaLnBrk="1" latinLnBrk="0" hangingPunct="1">
              <a:lnSpc>
                <a:spcPct val="90000"/>
              </a:lnSpc>
              <a:spcBef>
                <a:spcPts val="600"/>
              </a:spcBef>
              <a:spcAft>
                <a:spcPts val="600"/>
              </a:spcAft>
              <a:buClr>
                <a:schemeClr val="accent1"/>
              </a:buClr>
              <a:buSzPct val="110000"/>
              <a:buFont typeface="Aptos" panose="020B0004020202020204" pitchFamily="34" charset="0"/>
              <a:buNone/>
              <a:defRPr sz="100" kern="1200">
                <a:solidFill>
                  <a:schemeClr val="tx1"/>
                </a:solidFill>
                <a:latin typeface="+mn-lt"/>
                <a:ea typeface="+mn-ea"/>
                <a:cs typeface="+mn-cs"/>
              </a:defRPr>
            </a:lvl1pPr>
            <a:lvl2pPr marL="355600" indent="-177800" algn="l" defTabSz="914400" rtl="0" eaLnBrk="1" latinLnBrk="0" hangingPunct="1">
              <a:lnSpc>
                <a:spcPct val="90000"/>
              </a:lnSpc>
              <a:spcBef>
                <a:spcPts val="600"/>
              </a:spcBef>
              <a:spcAft>
                <a:spcPts val="600"/>
              </a:spcAft>
              <a:buClr>
                <a:schemeClr val="tx2"/>
              </a:buClr>
              <a:buFont typeface="Aptos" panose="020B0004020202020204" pitchFamily="34" charset="0"/>
              <a:buChar char="•"/>
              <a:tabLst/>
              <a:defRPr sz="1600" kern="1200">
                <a:solidFill>
                  <a:schemeClr val="tx1"/>
                </a:solidFill>
                <a:latin typeface="+mn-lt"/>
                <a:ea typeface="+mn-ea"/>
                <a:cs typeface="+mn-cs"/>
              </a:defRPr>
            </a:lvl2pPr>
            <a:lvl3pPr marL="531813" indent="-176213"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1600" kern="1200">
                <a:solidFill>
                  <a:schemeClr val="tx1"/>
                </a:solidFill>
                <a:latin typeface="+mn-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5"/>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2"/>
                </a:solidFill>
                <a:latin typeface="+mj-lt"/>
                <a:ea typeface="+mn-ea"/>
                <a:cs typeface="+mn-cs"/>
              </a:defRPr>
            </a:lvl6pPr>
            <a:lvl7pPr marL="342900" indent="-342900" algn="l" defTabSz="914400" rtl="0" eaLnBrk="1" latinLnBrk="0" hangingPunct="1">
              <a:lnSpc>
                <a:spcPct val="90000"/>
              </a:lnSpc>
              <a:spcBef>
                <a:spcPts val="600"/>
              </a:spcBef>
              <a:spcAft>
                <a:spcPts val="600"/>
              </a:spcAft>
              <a:buClr>
                <a:schemeClr val="tx2"/>
              </a:buClr>
              <a:buFont typeface="+mj-lt"/>
              <a:buAutoNum type="arabicPeriod"/>
              <a:tabLst/>
              <a:defRPr sz="1600" kern="1200">
                <a:solidFill>
                  <a:schemeClr val="tx1"/>
                </a:solidFill>
                <a:latin typeface="+mn-lt"/>
                <a:ea typeface="+mn-ea"/>
                <a:cs typeface="+mn-cs"/>
              </a:defRPr>
            </a:lvl7pPr>
            <a:lvl8pPr marL="342900" indent="-342900" algn="l" defTabSz="914400" rtl="0" eaLnBrk="1" latinLnBrk="0" hangingPunct="1">
              <a:lnSpc>
                <a:spcPct val="90000"/>
              </a:lnSpc>
              <a:spcBef>
                <a:spcPts val="600"/>
              </a:spcBef>
              <a:spcAft>
                <a:spcPts val="600"/>
              </a:spcAft>
              <a:buClr>
                <a:schemeClr val="tx2"/>
              </a:buClr>
              <a:buFont typeface="+mj-lt"/>
              <a:buAutoNum type="alphaLcPeriod"/>
              <a:defRPr sz="1600" kern="1200">
                <a:solidFill>
                  <a:schemeClr val="tx1"/>
                </a:solidFill>
                <a:latin typeface="+mn-lt"/>
                <a:ea typeface="+mn-ea"/>
                <a:cs typeface="+mn-cs"/>
              </a:defRPr>
            </a:lvl8pPr>
            <a:lvl9pPr marL="541338" indent="-180975"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600" i="0" kern="1200">
                <a:solidFill>
                  <a:schemeClr val="tx1"/>
                </a:solidFill>
                <a:latin typeface="+mn-lt"/>
                <a:ea typeface="+mn-ea"/>
                <a:cs typeface="+mn-cs"/>
              </a:defRPr>
            </a:lvl9pPr>
          </a:lstStyle>
          <a:p>
            <a:r>
              <a:rPr lang="en-GB"/>
              <a:t> </a:t>
            </a:r>
          </a:p>
        </p:txBody>
      </p:sp>
      <p:sp>
        <p:nvSpPr>
          <p:cNvPr id="9" name="Rechthoek: afgeronde hoeken 8">
            <a:extLst>
              <a:ext uri="{FF2B5EF4-FFF2-40B4-BE49-F238E27FC236}">
                <a16:creationId xmlns:a16="http://schemas.microsoft.com/office/drawing/2014/main" id="{E48AD39F-D1BD-4A94-927C-E2D6B75091D7}"/>
              </a:ext>
            </a:extLst>
          </p:cNvPr>
          <p:cNvSpPr/>
          <p:nvPr userDrawn="1"/>
        </p:nvSpPr>
        <p:spPr>
          <a:xfrm>
            <a:off x="0" y="-367937"/>
            <a:ext cx="600998" cy="24622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en-GB" sz="1600" b="1" cap="none" baseline="0" noProof="0">
                <a:solidFill>
                  <a:schemeClr val="accent1"/>
                </a:solidFill>
                <a:latin typeface="+mj-lt"/>
              </a:rPr>
              <a:t>Text #3</a:t>
            </a:r>
          </a:p>
        </p:txBody>
      </p:sp>
      <p:sp>
        <p:nvSpPr>
          <p:cNvPr id="92" name="Tijdelijke aanduiding voor tekst 15">
            <a:extLst>
              <a:ext uri="{FF2B5EF4-FFF2-40B4-BE49-F238E27FC236}">
                <a16:creationId xmlns:a16="http://schemas.microsoft.com/office/drawing/2014/main" id="{2378F912-895D-4E5A-C6A2-0F02095F837B}"/>
              </a:ext>
            </a:extLst>
          </p:cNvPr>
          <p:cNvSpPr>
            <a:spLocks noGrp="1"/>
          </p:cNvSpPr>
          <p:nvPr>
            <p:ph type="body" sz="quarter" idx="14" hasCustomPrompt="1"/>
          </p:nvPr>
        </p:nvSpPr>
        <p:spPr>
          <a:xfrm>
            <a:off x="720000" y="6060536"/>
            <a:ext cx="932400" cy="475200"/>
          </a:xfrm>
          <a:blipFill>
            <a:blip r:embed="rId2"/>
            <a:stretch>
              <a:fillRect/>
            </a:stretch>
          </a:blipFill>
        </p:spPr>
        <p:txBody>
          <a:bodyPr/>
          <a:lstStyle>
            <a:lvl1pPr marL="0" indent="0">
              <a:buNone/>
              <a:defRPr sz="100"/>
            </a:lvl1pPr>
          </a:lstStyle>
          <a:p>
            <a:pPr lvl="0"/>
            <a:r>
              <a:rPr lang="en-GB"/>
              <a:t> </a:t>
            </a:r>
          </a:p>
        </p:txBody>
      </p:sp>
      <p:sp>
        <p:nvSpPr>
          <p:cNvPr id="94" name="Tijdelijke aanduiding voor tekst 12">
            <a:extLst>
              <a:ext uri="{FF2B5EF4-FFF2-40B4-BE49-F238E27FC236}">
                <a16:creationId xmlns:a16="http://schemas.microsoft.com/office/drawing/2014/main" id="{15465D20-B021-B141-C442-893E0F9A43EA}"/>
              </a:ext>
            </a:extLst>
          </p:cNvPr>
          <p:cNvSpPr>
            <a:spLocks noGrp="1"/>
          </p:cNvSpPr>
          <p:nvPr>
            <p:ph type="body" sz="quarter" idx="18" hasCustomPrompt="1"/>
          </p:nvPr>
        </p:nvSpPr>
        <p:spPr>
          <a:xfrm>
            <a:off x="708207" y="707795"/>
            <a:ext cx="36000" cy="396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buNone/>
              <a:defRPr sz="100"/>
            </a:lvl1pPr>
          </a:lstStyle>
          <a:p>
            <a:pPr lvl="0"/>
            <a:r>
              <a:rPr lang="en-GB"/>
              <a:t> </a:t>
            </a:r>
          </a:p>
        </p:txBody>
      </p:sp>
      <p:sp>
        <p:nvSpPr>
          <p:cNvPr id="95" name="Tijdelijke aanduiding voor titel 1">
            <a:extLst>
              <a:ext uri="{FF2B5EF4-FFF2-40B4-BE49-F238E27FC236}">
                <a16:creationId xmlns:a16="http://schemas.microsoft.com/office/drawing/2014/main" id="{DC43821C-5BB8-744D-9C50-AA91E9ED5595}"/>
              </a:ext>
            </a:extLst>
          </p:cNvPr>
          <p:cNvSpPr>
            <a:spLocks noGrp="1"/>
          </p:cNvSpPr>
          <p:nvPr>
            <p:ph type="title" hasCustomPrompt="1"/>
          </p:nvPr>
        </p:nvSpPr>
        <p:spPr>
          <a:xfrm>
            <a:off x="865163" y="722313"/>
            <a:ext cx="10606838" cy="342211"/>
          </a:xfrm>
          <a:prstGeom prst="rect">
            <a:avLst/>
          </a:prstGeom>
        </p:spPr>
        <p:txBody>
          <a:bodyPr vert="horz" lIns="0" tIns="0" rIns="0" bIns="0" rtlCol="0" anchor="t">
            <a:noAutofit/>
          </a:bodyPr>
          <a:lstStyle/>
          <a:p>
            <a:r>
              <a:rPr lang="en-GB" noProof="0"/>
              <a:t>Place the title of the slide here</a:t>
            </a:r>
          </a:p>
        </p:txBody>
      </p:sp>
      <p:sp>
        <p:nvSpPr>
          <p:cNvPr id="78" name="Tijdelijke aanduiding voor tekst 2">
            <a:extLst>
              <a:ext uri="{FF2B5EF4-FFF2-40B4-BE49-F238E27FC236}">
                <a16:creationId xmlns:a16="http://schemas.microsoft.com/office/drawing/2014/main" id="{8EBCC2B5-7EBC-8C78-D080-A8C9A382B13D}"/>
              </a:ext>
            </a:extLst>
          </p:cNvPr>
          <p:cNvSpPr>
            <a:spLocks noGrp="1"/>
          </p:cNvSpPr>
          <p:nvPr>
            <p:ph idx="1"/>
          </p:nvPr>
        </p:nvSpPr>
        <p:spPr>
          <a:xfrm>
            <a:off x="720000" y="1592262"/>
            <a:ext cx="10752000" cy="4213945"/>
          </a:xfrm>
          <a:prstGeom prst="rect">
            <a:avLst/>
          </a:prstGeom>
        </p:spPr>
        <p:txBody>
          <a:bodyPr vert="horz" lIns="0" tIns="0" rIns="0" bIns="0" rtlCol="0">
            <a:noAutofit/>
          </a:bodyPr>
          <a:lstStyle/>
          <a:p>
            <a:pPr lvl="0"/>
            <a:r>
              <a:rPr lang="en-GB" noProof="0"/>
              <a:t>Plain text #1</a:t>
            </a:r>
          </a:p>
          <a:p>
            <a:pPr lvl="1"/>
            <a:r>
              <a:rPr lang="en-GB" noProof="0"/>
              <a:t>Plain text #2</a:t>
            </a:r>
          </a:p>
          <a:p>
            <a:pPr lvl="2"/>
            <a:r>
              <a:rPr lang="en-GB" noProof="0"/>
              <a:t>Heading #1</a:t>
            </a:r>
          </a:p>
          <a:p>
            <a:pPr lvl="3"/>
            <a:r>
              <a:rPr lang="en-GB" noProof="0" err="1"/>
              <a:t>Tekst</a:t>
            </a:r>
            <a:endParaRPr lang="en-GB" noProof="0"/>
          </a:p>
          <a:p>
            <a:pPr lvl="4"/>
            <a:r>
              <a:rPr lang="en-GB" noProof="0"/>
              <a:t>Heading #3</a:t>
            </a:r>
          </a:p>
          <a:p>
            <a:pPr lvl="5"/>
            <a:r>
              <a:rPr lang="en-GB" noProof="0"/>
              <a:t>Heading #4</a:t>
            </a:r>
          </a:p>
          <a:p>
            <a:pPr lvl="6"/>
            <a:r>
              <a:rPr lang="en-GB" noProof="0"/>
              <a:t>Numbers</a:t>
            </a:r>
          </a:p>
          <a:p>
            <a:pPr lvl="7"/>
            <a:r>
              <a:rPr lang="en-GB" noProof="0"/>
              <a:t>Letters</a:t>
            </a:r>
          </a:p>
          <a:p>
            <a:pPr marL="0" marR="0" lvl="8" indent="0" algn="l" defTabSz="914400" rtl="0" eaLnBrk="1" fontAlgn="auto" latinLnBrk="0" hangingPunct="1">
              <a:lnSpc>
                <a:spcPct val="90000"/>
              </a:lnSpc>
              <a:spcBef>
                <a:spcPts val="600"/>
              </a:spcBef>
              <a:spcAft>
                <a:spcPts val="600"/>
              </a:spcAft>
              <a:buClr>
                <a:schemeClr val="tx2"/>
              </a:buClr>
              <a:buSzTx/>
              <a:buFontTx/>
              <a:buNone/>
              <a:tabLst/>
              <a:defRPr/>
            </a:pPr>
            <a:r>
              <a:rPr lang="en-GB" noProof="0" err="1"/>
              <a:t>Bronvermelding</a:t>
            </a:r>
            <a:endParaRPr lang="en-GB" noProof="0"/>
          </a:p>
        </p:txBody>
      </p:sp>
    </p:spTree>
    <p:extLst>
      <p:ext uri="{BB962C8B-B14F-4D97-AF65-F5344CB8AC3E}">
        <p14:creationId xmlns:p14="http://schemas.microsoft.com/office/powerpoint/2010/main" val="384802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3 - ZI">
    <p:spTree>
      <p:nvGrpSpPr>
        <p:cNvPr id="1" name=""/>
        <p:cNvGrpSpPr/>
        <p:nvPr/>
      </p:nvGrpSpPr>
      <p:grpSpPr>
        <a:xfrm>
          <a:off x="0" y="0"/>
          <a:ext cx="0" cy="0"/>
          <a:chOff x="0" y="0"/>
          <a:chExt cx="0" cy="0"/>
        </a:xfrm>
      </p:grpSpPr>
      <p:sp>
        <p:nvSpPr>
          <p:cNvPr id="16" name="Tijdelijke aanduiding voor tekst 10">
            <a:extLst>
              <a:ext uri="{FF2B5EF4-FFF2-40B4-BE49-F238E27FC236}">
                <a16:creationId xmlns:a16="http://schemas.microsoft.com/office/drawing/2014/main" id="{BEA26A03-DB99-8B63-4EE4-824A4ADCB08A}"/>
              </a:ext>
            </a:extLst>
          </p:cNvPr>
          <p:cNvSpPr txBox="1">
            <a:spLocks/>
          </p:cNvSpPr>
          <p:nvPr userDrawn="1"/>
        </p:nvSpPr>
        <p:spPr>
          <a:xfrm>
            <a:off x="193040" y="225424"/>
            <a:ext cx="11805920" cy="6424295"/>
          </a:xfrm>
          <a:prstGeom prst="roundRect">
            <a:avLst>
              <a:gd name="adj" fmla="val 3563"/>
            </a:avLst>
          </a:prstGeom>
          <a:solidFill>
            <a:schemeClr val="accent1">
              <a:alpha val="20000"/>
            </a:schemeClr>
          </a:solidFill>
        </p:spPr>
        <p:txBody>
          <a:bodyPr wrap="square">
            <a:noAutofit/>
          </a:bodyPr>
          <a:lstStyle>
            <a:lvl1pPr marL="0" indent="0" algn="l" defTabSz="914400" rtl="0" eaLnBrk="1" latinLnBrk="0" hangingPunct="1">
              <a:lnSpc>
                <a:spcPct val="90000"/>
              </a:lnSpc>
              <a:spcBef>
                <a:spcPts val="600"/>
              </a:spcBef>
              <a:spcAft>
                <a:spcPts val="600"/>
              </a:spcAft>
              <a:buClr>
                <a:schemeClr val="accent1"/>
              </a:buClr>
              <a:buSzPct val="110000"/>
              <a:buFont typeface="Aptos" panose="020B0004020202020204" pitchFamily="34" charset="0"/>
              <a:buNone/>
              <a:defRPr sz="100" kern="1200">
                <a:solidFill>
                  <a:schemeClr val="tx1"/>
                </a:solidFill>
                <a:latin typeface="+mn-lt"/>
                <a:ea typeface="+mn-ea"/>
                <a:cs typeface="+mn-cs"/>
              </a:defRPr>
            </a:lvl1pPr>
            <a:lvl2pPr marL="355600" indent="-177800" algn="l" defTabSz="914400" rtl="0" eaLnBrk="1" latinLnBrk="0" hangingPunct="1">
              <a:lnSpc>
                <a:spcPct val="90000"/>
              </a:lnSpc>
              <a:spcBef>
                <a:spcPts val="600"/>
              </a:spcBef>
              <a:spcAft>
                <a:spcPts val="600"/>
              </a:spcAft>
              <a:buClr>
                <a:schemeClr val="tx2"/>
              </a:buClr>
              <a:buFont typeface="Aptos" panose="020B0004020202020204" pitchFamily="34" charset="0"/>
              <a:buChar char="•"/>
              <a:tabLst/>
              <a:defRPr sz="1600" kern="1200">
                <a:solidFill>
                  <a:schemeClr val="tx1"/>
                </a:solidFill>
                <a:latin typeface="+mn-lt"/>
                <a:ea typeface="+mn-ea"/>
                <a:cs typeface="+mn-cs"/>
              </a:defRPr>
            </a:lvl2pPr>
            <a:lvl3pPr marL="531813" indent="-176213"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1600" kern="1200">
                <a:solidFill>
                  <a:schemeClr val="tx1"/>
                </a:solidFill>
                <a:latin typeface="+mn-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5"/>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2"/>
                </a:solidFill>
                <a:latin typeface="+mj-lt"/>
                <a:ea typeface="+mn-ea"/>
                <a:cs typeface="+mn-cs"/>
              </a:defRPr>
            </a:lvl6pPr>
            <a:lvl7pPr marL="342900" indent="-342900" algn="l" defTabSz="914400" rtl="0" eaLnBrk="1" latinLnBrk="0" hangingPunct="1">
              <a:lnSpc>
                <a:spcPct val="90000"/>
              </a:lnSpc>
              <a:spcBef>
                <a:spcPts val="600"/>
              </a:spcBef>
              <a:spcAft>
                <a:spcPts val="600"/>
              </a:spcAft>
              <a:buClr>
                <a:schemeClr val="tx2"/>
              </a:buClr>
              <a:buFont typeface="+mj-lt"/>
              <a:buAutoNum type="arabicPeriod"/>
              <a:tabLst/>
              <a:defRPr sz="1600" kern="1200">
                <a:solidFill>
                  <a:schemeClr val="tx1"/>
                </a:solidFill>
                <a:latin typeface="+mn-lt"/>
                <a:ea typeface="+mn-ea"/>
                <a:cs typeface="+mn-cs"/>
              </a:defRPr>
            </a:lvl7pPr>
            <a:lvl8pPr marL="342900" indent="-342900" algn="l" defTabSz="914400" rtl="0" eaLnBrk="1" latinLnBrk="0" hangingPunct="1">
              <a:lnSpc>
                <a:spcPct val="90000"/>
              </a:lnSpc>
              <a:spcBef>
                <a:spcPts val="600"/>
              </a:spcBef>
              <a:spcAft>
                <a:spcPts val="600"/>
              </a:spcAft>
              <a:buClr>
                <a:schemeClr val="tx2"/>
              </a:buClr>
              <a:buFont typeface="+mj-lt"/>
              <a:buAutoNum type="alphaLcPeriod"/>
              <a:defRPr sz="1600" kern="1200">
                <a:solidFill>
                  <a:schemeClr val="tx1"/>
                </a:solidFill>
                <a:latin typeface="+mn-lt"/>
                <a:ea typeface="+mn-ea"/>
                <a:cs typeface="+mn-cs"/>
              </a:defRPr>
            </a:lvl8pPr>
            <a:lvl9pPr marL="541338" indent="-180975"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600" i="0" kern="1200">
                <a:solidFill>
                  <a:schemeClr val="tx1"/>
                </a:solidFill>
                <a:latin typeface="+mn-lt"/>
                <a:ea typeface="+mn-ea"/>
                <a:cs typeface="+mn-cs"/>
              </a:defRPr>
            </a:lvl9pPr>
          </a:lstStyle>
          <a:p>
            <a:r>
              <a:rPr lang="en-GB"/>
              <a:t> </a:t>
            </a:r>
          </a:p>
        </p:txBody>
      </p:sp>
      <p:sp>
        <p:nvSpPr>
          <p:cNvPr id="9" name="Rechthoek: afgeronde hoeken 8">
            <a:extLst>
              <a:ext uri="{FF2B5EF4-FFF2-40B4-BE49-F238E27FC236}">
                <a16:creationId xmlns:a16="http://schemas.microsoft.com/office/drawing/2014/main" id="{E48AD39F-D1BD-4A94-927C-E2D6B75091D7}"/>
              </a:ext>
            </a:extLst>
          </p:cNvPr>
          <p:cNvSpPr/>
          <p:nvPr userDrawn="1"/>
        </p:nvSpPr>
        <p:spPr>
          <a:xfrm>
            <a:off x="0" y="-367937"/>
            <a:ext cx="600998" cy="24622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en-GB" sz="1600" b="1" cap="none" baseline="0" noProof="0">
                <a:solidFill>
                  <a:schemeClr val="accent1"/>
                </a:solidFill>
                <a:latin typeface="+mj-lt"/>
              </a:rPr>
              <a:t>Text #4</a:t>
            </a:r>
          </a:p>
        </p:txBody>
      </p:sp>
      <p:sp>
        <p:nvSpPr>
          <p:cNvPr id="92" name="Tijdelijke aanduiding voor tekst 15">
            <a:extLst>
              <a:ext uri="{FF2B5EF4-FFF2-40B4-BE49-F238E27FC236}">
                <a16:creationId xmlns:a16="http://schemas.microsoft.com/office/drawing/2014/main" id="{2378F912-895D-4E5A-C6A2-0F02095F837B}"/>
              </a:ext>
            </a:extLst>
          </p:cNvPr>
          <p:cNvSpPr>
            <a:spLocks noGrp="1"/>
          </p:cNvSpPr>
          <p:nvPr>
            <p:ph type="body" sz="quarter" idx="14" hasCustomPrompt="1"/>
          </p:nvPr>
        </p:nvSpPr>
        <p:spPr>
          <a:xfrm>
            <a:off x="720000" y="6060536"/>
            <a:ext cx="932400" cy="475200"/>
          </a:xfrm>
          <a:blipFill>
            <a:blip r:embed="rId2"/>
            <a:stretch>
              <a:fillRect/>
            </a:stretch>
          </a:blipFill>
        </p:spPr>
        <p:txBody>
          <a:bodyPr/>
          <a:lstStyle>
            <a:lvl1pPr marL="0" indent="0">
              <a:buNone/>
              <a:defRPr sz="100"/>
            </a:lvl1pPr>
          </a:lstStyle>
          <a:p>
            <a:pPr lvl="0"/>
            <a:r>
              <a:rPr lang="en-GB"/>
              <a:t> </a:t>
            </a:r>
          </a:p>
        </p:txBody>
      </p:sp>
      <p:sp>
        <p:nvSpPr>
          <p:cNvPr id="94" name="Tijdelijke aanduiding voor tekst 12">
            <a:extLst>
              <a:ext uri="{FF2B5EF4-FFF2-40B4-BE49-F238E27FC236}">
                <a16:creationId xmlns:a16="http://schemas.microsoft.com/office/drawing/2014/main" id="{15465D20-B021-B141-C442-893E0F9A43EA}"/>
              </a:ext>
            </a:extLst>
          </p:cNvPr>
          <p:cNvSpPr>
            <a:spLocks noGrp="1"/>
          </p:cNvSpPr>
          <p:nvPr>
            <p:ph type="body" sz="quarter" idx="18" hasCustomPrompt="1"/>
          </p:nvPr>
        </p:nvSpPr>
        <p:spPr>
          <a:xfrm>
            <a:off x="708207" y="707795"/>
            <a:ext cx="36000" cy="396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buNone/>
              <a:defRPr sz="100"/>
            </a:lvl1pPr>
          </a:lstStyle>
          <a:p>
            <a:pPr lvl="0"/>
            <a:r>
              <a:rPr lang="en-GB"/>
              <a:t> </a:t>
            </a:r>
          </a:p>
        </p:txBody>
      </p:sp>
      <p:sp>
        <p:nvSpPr>
          <p:cNvPr id="95" name="Tijdelijke aanduiding voor titel 1">
            <a:extLst>
              <a:ext uri="{FF2B5EF4-FFF2-40B4-BE49-F238E27FC236}">
                <a16:creationId xmlns:a16="http://schemas.microsoft.com/office/drawing/2014/main" id="{DC43821C-5BB8-744D-9C50-AA91E9ED5595}"/>
              </a:ext>
            </a:extLst>
          </p:cNvPr>
          <p:cNvSpPr>
            <a:spLocks noGrp="1"/>
          </p:cNvSpPr>
          <p:nvPr>
            <p:ph type="title" hasCustomPrompt="1"/>
          </p:nvPr>
        </p:nvSpPr>
        <p:spPr>
          <a:xfrm>
            <a:off x="865163" y="722313"/>
            <a:ext cx="10606838" cy="342211"/>
          </a:xfrm>
          <a:prstGeom prst="rect">
            <a:avLst/>
          </a:prstGeom>
        </p:spPr>
        <p:txBody>
          <a:bodyPr vert="horz" lIns="0" tIns="0" rIns="0" bIns="0" rtlCol="0" anchor="t">
            <a:noAutofit/>
          </a:bodyPr>
          <a:lstStyle/>
          <a:p>
            <a:r>
              <a:rPr lang="en-GB" noProof="0"/>
              <a:t>Place the title of the slide here</a:t>
            </a:r>
          </a:p>
        </p:txBody>
      </p:sp>
      <p:sp>
        <p:nvSpPr>
          <p:cNvPr id="3" name="Tijdelijke aanduiding voor tekst 2">
            <a:extLst>
              <a:ext uri="{FF2B5EF4-FFF2-40B4-BE49-F238E27FC236}">
                <a16:creationId xmlns:a16="http://schemas.microsoft.com/office/drawing/2014/main" id="{2DCED52A-827C-91AB-04C4-710FFF01EEBE}"/>
              </a:ext>
            </a:extLst>
          </p:cNvPr>
          <p:cNvSpPr>
            <a:spLocks noGrp="1"/>
          </p:cNvSpPr>
          <p:nvPr>
            <p:ph idx="1"/>
          </p:nvPr>
        </p:nvSpPr>
        <p:spPr>
          <a:xfrm>
            <a:off x="720000" y="1592262"/>
            <a:ext cx="10752000" cy="4213945"/>
          </a:xfrm>
          <a:prstGeom prst="rect">
            <a:avLst/>
          </a:prstGeom>
        </p:spPr>
        <p:txBody>
          <a:bodyPr vert="horz" lIns="0" tIns="0" rIns="0" bIns="0" rtlCol="0">
            <a:noAutofit/>
          </a:bodyPr>
          <a:lstStyle/>
          <a:p>
            <a:pPr lvl="0"/>
            <a:r>
              <a:rPr lang="en-GB" noProof="0"/>
              <a:t>Plain text #1</a:t>
            </a:r>
          </a:p>
          <a:p>
            <a:pPr lvl="1"/>
            <a:r>
              <a:rPr lang="en-GB" noProof="0"/>
              <a:t>Plain text #2</a:t>
            </a:r>
          </a:p>
          <a:p>
            <a:pPr lvl="2"/>
            <a:r>
              <a:rPr lang="en-GB" noProof="0"/>
              <a:t>Heading #1</a:t>
            </a:r>
          </a:p>
          <a:p>
            <a:pPr lvl="3"/>
            <a:r>
              <a:rPr lang="en-GB" noProof="0" err="1"/>
              <a:t>Tekst</a:t>
            </a:r>
            <a:endParaRPr lang="en-GB" noProof="0"/>
          </a:p>
          <a:p>
            <a:pPr lvl="4"/>
            <a:r>
              <a:rPr lang="en-GB" noProof="0"/>
              <a:t>Heading #3</a:t>
            </a:r>
          </a:p>
          <a:p>
            <a:pPr lvl="5"/>
            <a:r>
              <a:rPr lang="en-GB" noProof="0"/>
              <a:t>Heading #4</a:t>
            </a:r>
          </a:p>
          <a:p>
            <a:pPr lvl="6"/>
            <a:r>
              <a:rPr lang="en-GB" noProof="0"/>
              <a:t>Numbers</a:t>
            </a:r>
          </a:p>
          <a:p>
            <a:pPr lvl="7"/>
            <a:r>
              <a:rPr lang="en-GB" noProof="0"/>
              <a:t>Letters</a:t>
            </a:r>
          </a:p>
          <a:p>
            <a:pPr marL="0" marR="0" lvl="8" indent="0" algn="l" defTabSz="914400" rtl="0" eaLnBrk="1" fontAlgn="auto" latinLnBrk="0" hangingPunct="1">
              <a:lnSpc>
                <a:spcPct val="90000"/>
              </a:lnSpc>
              <a:spcBef>
                <a:spcPts val="600"/>
              </a:spcBef>
              <a:spcAft>
                <a:spcPts val="600"/>
              </a:spcAft>
              <a:buClr>
                <a:schemeClr val="tx2"/>
              </a:buClr>
              <a:buSzTx/>
              <a:buFontTx/>
              <a:buNone/>
              <a:tabLst/>
              <a:defRPr/>
            </a:pPr>
            <a:r>
              <a:rPr lang="en-GB" noProof="0" err="1"/>
              <a:t>Bronvermelding</a:t>
            </a:r>
            <a:endParaRPr lang="en-GB" noProof="0"/>
          </a:p>
        </p:txBody>
      </p:sp>
    </p:spTree>
    <p:extLst>
      <p:ext uri="{BB962C8B-B14F-4D97-AF65-F5344CB8AC3E}">
        <p14:creationId xmlns:p14="http://schemas.microsoft.com/office/powerpoint/2010/main" val="2341609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Image (s) - ZI">
    <p:spTree>
      <p:nvGrpSpPr>
        <p:cNvPr id="1" name=""/>
        <p:cNvGrpSpPr/>
        <p:nvPr/>
      </p:nvGrpSpPr>
      <p:grpSpPr>
        <a:xfrm>
          <a:off x="0" y="0"/>
          <a:ext cx="0" cy="0"/>
          <a:chOff x="0" y="0"/>
          <a:chExt cx="0" cy="0"/>
        </a:xfrm>
      </p:grpSpPr>
      <p:sp>
        <p:nvSpPr>
          <p:cNvPr id="9" name="Rechthoek: afgeronde hoeken 8">
            <a:extLst>
              <a:ext uri="{FF2B5EF4-FFF2-40B4-BE49-F238E27FC236}">
                <a16:creationId xmlns:a16="http://schemas.microsoft.com/office/drawing/2014/main" id="{5CD5B878-220D-4F80-B08D-6312746A4F90}"/>
              </a:ext>
            </a:extLst>
          </p:cNvPr>
          <p:cNvSpPr/>
          <p:nvPr userDrawn="1"/>
        </p:nvSpPr>
        <p:spPr>
          <a:xfrm>
            <a:off x="0" y="-367937"/>
            <a:ext cx="1320170" cy="24622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en-GB" sz="1600" b="1" cap="none" baseline="0" noProof="0">
                <a:solidFill>
                  <a:schemeClr val="accent1"/>
                </a:solidFill>
                <a:latin typeface="+mj-lt"/>
              </a:rPr>
              <a:t>Text + Image (s)</a:t>
            </a:r>
          </a:p>
        </p:txBody>
      </p:sp>
      <p:sp>
        <p:nvSpPr>
          <p:cNvPr id="163" name="Tijdelijke aanduiding voor tekst 15">
            <a:extLst>
              <a:ext uri="{FF2B5EF4-FFF2-40B4-BE49-F238E27FC236}">
                <a16:creationId xmlns:a16="http://schemas.microsoft.com/office/drawing/2014/main" id="{5EBE72CE-DC40-6D4E-563D-317873C02594}"/>
              </a:ext>
            </a:extLst>
          </p:cNvPr>
          <p:cNvSpPr>
            <a:spLocks noGrp="1"/>
          </p:cNvSpPr>
          <p:nvPr>
            <p:ph type="body" sz="quarter" idx="14" hasCustomPrompt="1"/>
          </p:nvPr>
        </p:nvSpPr>
        <p:spPr>
          <a:xfrm>
            <a:off x="720000" y="6060536"/>
            <a:ext cx="932400" cy="475200"/>
          </a:xfrm>
          <a:blipFill>
            <a:blip r:embed="rId2"/>
            <a:stretch>
              <a:fillRect/>
            </a:stretch>
          </a:blipFill>
        </p:spPr>
        <p:txBody>
          <a:bodyPr/>
          <a:lstStyle>
            <a:lvl1pPr marL="0" indent="0">
              <a:buNone/>
              <a:defRPr sz="100"/>
            </a:lvl1pPr>
          </a:lstStyle>
          <a:p>
            <a:pPr lvl="0"/>
            <a:r>
              <a:rPr lang="en-GB"/>
              <a:t> </a:t>
            </a:r>
          </a:p>
        </p:txBody>
      </p:sp>
      <p:sp>
        <p:nvSpPr>
          <p:cNvPr id="165" name="Tijdelijke aanduiding voor tekst 12">
            <a:extLst>
              <a:ext uri="{FF2B5EF4-FFF2-40B4-BE49-F238E27FC236}">
                <a16:creationId xmlns:a16="http://schemas.microsoft.com/office/drawing/2014/main" id="{A2CDA243-2822-FDC1-9656-779DF0EFD1D6}"/>
              </a:ext>
            </a:extLst>
          </p:cNvPr>
          <p:cNvSpPr>
            <a:spLocks noGrp="1"/>
          </p:cNvSpPr>
          <p:nvPr>
            <p:ph type="body" sz="quarter" idx="18" hasCustomPrompt="1"/>
          </p:nvPr>
        </p:nvSpPr>
        <p:spPr>
          <a:xfrm>
            <a:off x="708207" y="707795"/>
            <a:ext cx="36000" cy="396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buNone/>
              <a:defRPr sz="100"/>
            </a:lvl1pPr>
          </a:lstStyle>
          <a:p>
            <a:pPr lvl="0"/>
            <a:r>
              <a:rPr lang="en-GB"/>
              <a:t> </a:t>
            </a:r>
          </a:p>
        </p:txBody>
      </p:sp>
      <p:sp>
        <p:nvSpPr>
          <p:cNvPr id="166" name="Tijdelijke aanduiding voor titel 1">
            <a:extLst>
              <a:ext uri="{FF2B5EF4-FFF2-40B4-BE49-F238E27FC236}">
                <a16:creationId xmlns:a16="http://schemas.microsoft.com/office/drawing/2014/main" id="{DA5B9C74-0708-1EC7-E013-F50E81FD6FC6}"/>
              </a:ext>
            </a:extLst>
          </p:cNvPr>
          <p:cNvSpPr>
            <a:spLocks noGrp="1"/>
          </p:cNvSpPr>
          <p:nvPr>
            <p:ph type="title" hasCustomPrompt="1"/>
          </p:nvPr>
        </p:nvSpPr>
        <p:spPr>
          <a:xfrm>
            <a:off x="865162" y="722313"/>
            <a:ext cx="7342838" cy="342211"/>
          </a:xfrm>
          <a:prstGeom prst="rect">
            <a:avLst/>
          </a:prstGeom>
        </p:spPr>
        <p:txBody>
          <a:bodyPr vert="horz" lIns="0" tIns="0" rIns="0" bIns="0" rtlCol="0" anchor="t">
            <a:noAutofit/>
          </a:bodyPr>
          <a:lstStyle/>
          <a:p>
            <a:r>
              <a:rPr lang="en-GB" noProof="0"/>
              <a:t>Place the title of the slide here</a:t>
            </a:r>
          </a:p>
        </p:txBody>
      </p:sp>
      <p:sp>
        <p:nvSpPr>
          <p:cNvPr id="2" name="Tijdelijke aanduiding voor afbeelding 16">
            <a:extLst>
              <a:ext uri="{FF2B5EF4-FFF2-40B4-BE49-F238E27FC236}">
                <a16:creationId xmlns:a16="http://schemas.microsoft.com/office/drawing/2014/main" id="{5E6E37D7-192F-D7CE-CAB6-205EFA903A0A}"/>
              </a:ext>
            </a:extLst>
          </p:cNvPr>
          <p:cNvSpPr>
            <a:spLocks noGrp="1"/>
          </p:cNvSpPr>
          <p:nvPr>
            <p:ph type="pic" sz="quarter" idx="19" hasCustomPrompt="1"/>
          </p:nvPr>
        </p:nvSpPr>
        <p:spPr>
          <a:xfrm>
            <a:off x="8562290" y="722313"/>
            <a:ext cx="2901015" cy="5083175"/>
          </a:xfrm>
          <a:prstGeom prst="roundRect">
            <a:avLst>
              <a:gd name="adj" fmla="val 5432"/>
            </a:avLst>
          </a:prstGeom>
          <a:solidFill>
            <a:schemeClr val="bg1">
              <a:lumMod val="95000"/>
            </a:schemeClr>
          </a:solidFill>
          <a:ln w="15875">
            <a:noFill/>
          </a:ln>
        </p:spPr>
        <p:txBody>
          <a:bodyPr lIns="360000" tIns="0" rIns="360000" bIns="1620000" anchor="ctr" anchorCtr="0"/>
          <a:lstStyle>
            <a:lvl1pPr marL="0" indent="0" algn="ctr">
              <a:buNone/>
              <a:defRPr sz="1200" i="1">
                <a:solidFill>
                  <a:schemeClr val="bg1">
                    <a:lumMod val="50000"/>
                  </a:schemeClr>
                </a:solidFill>
              </a:defRPr>
            </a:lvl1pPr>
          </a:lstStyle>
          <a:p>
            <a:r>
              <a:rPr lang="en-GB"/>
              <a:t>Select this placeholder, go to the tab ‘Slidebuilder’, click on ‘Images’, select the preferred image and click on ‘Insert’.</a:t>
            </a:r>
          </a:p>
        </p:txBody>
      </p:sp>
      <p:sp>
        <p:nvSpPr>
          <p:cNvPr id="20" name="Tijdelijke aanduiding voor tekst 19">
            <a:extLst>
              <a:ext uri="{FF2B5EF4-FFF2-40B4-BE49-F238E27FC236}">
                <a16:creationId xmlns:a16="http://schemas.microsoft.com/office/drawing/2014/main" id="{76200838-2759-6787-4722-969220D8508C}"/>
              </a:ext>
            </a:extLst>
          </p:cNvPr>
          <p:cNvSpPr>
            <a:spLocks noGrp="1"/>
          </p:cNvSpPr>
          <p:nvPr>
            <p:ph type="body" sz="quarter" idx="20" hasCustomPrompt="1"/>
          </p:nvPr>
        </p:nvSpPr>
        <p:spPr>
          <a:xfrm>
            <a:off x="8802918" y="5054643"/>
            <a:ext cx="1997075" cy="548005"/>
          </a:xfrm>
        </p:spPr>
        <p:txBody>
          <a:bodyPr anchor="b"/>
          <a:lstStyle>
            <a:lvl1pPr marL="0" indent="0">
              <a:lnSpc>
                <a:spcPts val="1400"/>
              </a:lnSpc>
              <a:buNone/>
              <a:defRPr sz="1100">
                <a:solidFill>
                  <a:schemeClr val="bg2"/>
                </a:solidFill>
                <a:effectLst>
                  <a:outerShdw blurRad="228600" dir="5400000" algn="ctr" rotWithShape="0">
                    <a:srgbClr val="000000">
                      <a:alpha val="35000"/>
                    </a:srgbClr>
                  </a:outerShdw>
                </a:effectLst>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a:t>
            </a:r>
            <a:r>
              <a:rPr lang="nl-NL"/>
              <a:t> </a:t>
            </a:r>
            <a:r>
              <a:rPr lang="nl-NL" err="1"/>
              <a:t>adipisci</a:t>
            </a:r>
            <a:r>
              <a:rPr lang="nl-NL"/>
              <a:t> </a:t>
            </a:r>
            <a:r>
              <a:rPr lang="nl-NL" err="1"/>
              <a:t>elit</a:t>
            </a:r>
            <a:r>
              <a:rPr lang="nl-NL"/>
              <a:t>. </a:t>
            </a:r>
            <a:r>
              <a:rPr lang="nl-NL" err="1"/>
              <a:t>Pellentes</a:t>
            </a:r>
            <a:r>
              <a:rPr lang="nl-NL"/>
              <a:t> </a:t>
            </a:r>
            <a:r>
              <a:rPr lang="nl-NL" err="1"/>
              <a:t>blandit</a:t>
            </a:r>
            <a:r>
              <a:rPr lang="nl-NL"/>
              <a:t> </a:t>
            </a:r>
            <a:r>
              <a:rPr lang="nl-NL" err="1"/>
              <a:t>felis</a:t>
            </a:r>
            <a:r>
              <a:rPr lang="nl-NL"/>
              <a:t> </a:t>
            </a:r>
            <a:r>
              <a:rPr lang="nl-NL" err="1"/>
              <a:t>eu</a:t>
            </a:r>
            <a:r>
              <a:rPr lang="nl-NL"/>
              <a:t> </a:t>
            </a:r>
            <a:r>
              <a:rPr lang="nl-NL" err="1"/>
              <a:t>ullamcorp</a:t>
            </a:r>
            <a:r>
              <a:rPr lang="nl-NL"/>
              <a:t> temp</a:t>
            </a:r>
          </a:p>
        </p:txBody>
      </p:sp>
      <p:sp>
        <p:nvSpPr>
          <p:cNvPr id="5" name="Tijdelijke aanduiding voor tekst 2">
            <a:extLst>
              <a:ext uri="{FF2B5EF4-FFF2-40B4-BE49-F238E27FC236}">
                <a16:creationId xmlns:a16="http://schemas.microsoft.com/office/drawing/2014/main" id="{D7557B65-0D59-C970-A011-44597C9ED630}"/>
              </a:ext>
            </a:extLst>
          </p:cNvPr>
          <p:cNvSpPr>
            <a:spLocks noGrp="1"/>
          </p:cNvSpPr>
          <p:nvPr>
            <p:ph idx="21"/>
          </p:nvPr>
        </p:nvSpPr>
        <p:spPr>
          <a:xfrm>
            <a:off x="720000" y="1592262"/>
            <a:ext cx="7488000" cy="4213945"/>
          </a:xfrm>
          <a:prstGeom prst="rect">
            <a:avLst/>
          </a:prstGeom>
        </p:spPr>
        <p:txBody>
          <a:bodyPr vert="horz" lIns="0" tIns="0" rIns="0" bIns="0" rtlCol="0">
            <a:noAutofit/>
          </a:bodyPr>
          <a:lstStyle/>
          <a:p>
            <a:pPr lvl="0"/>
            <a:r>
              <a:rPr lang="en-GB" noProof="0"/>
              <a:t>Plain text #1</a:t>
            </a:r>
          </a:p>
          <a:p>
            <a:pPr lvl="1"/>
            <a:r>
              <a:rPr lang="en-GB" noProof="0"/>
              <a:t>Plain text #2</a:t>
            </a:r>
          </a:p>
          <a:p>
            <a:pPr lvl="2"/>
            <a:r>
              <a:rPr lang="en-GB" noProof="0"/>
              <a:t>Heading #1</a:t>
            </a:r>
          </a:p>
          <a:p>
            <a:pPr lvl="3"/>
            <a:r>
              <a:rPr lang="en-GB" noProof="0" err="1"/>
              <a:t>Tekst</a:t>
            </a:r>
            <a:endParaRPr lang="en-GB" noProof="0"/>
          </a:p>
          <a:p>
            <a:pPr lvl="4"/>
            <a:r>
              <a:rPr lang="en-GB" noProof="0"/>
              <a:t>Heading #3</a:t>
            </a:r>
          </a:p>
          <a:p>
            <a:pPr lvl="5"/>
            <a:r>
              <a:rPr lang="en-GB" noProof="0"/>
              <a:t>Heading #4</a:t>
            </a:r>
          </a:p>
          <a:p>
            <a:pPr lvl="6"/>
            <a:r>
              <a:rPr lang="en-GB" noProof="0"/>
              <a:t>Numbers</a:t>
            </a:r>
          </a:p>
          <a:p>
            <a:pPr lvl="7"/>
            <a:r>
              <a:rPr lang="en-GB" noProof="0"/>
              <a:t>Letters</a:t>
            </a:r>
          </a:p>
          <a:p>
            <a:pPr marL="0" marR="0" lvl="8" indent="0" algn="l" defTabSz="914400" rtl="0" eaLnBrk="1" fontAlgn="auto" latinLnBrk="0" hangingPunct="1">
              <a:lnSpc>
                <a:spcPct val="90000"/>
              </a:lnSpc>
              <a:spcBef>
                <a:spcPts val="600"/>
              </a:spcBef>
              <a:spcAft>
                <a:spcPts val="600"/>
              </a:spcAft>
              <a:buClr>
                <a:schemeClr val="tx2"/>
              </a:buClr>
              <a:buSzTx/>
              <a:buFontTx/>
              <a:buNone/>
              <a:tabLst/>
              <a:defRPr/>
            </a:pPr>
            <a:r>
              <a:rPr lang="en-GB" noProof="0" err="1"/>
              <a:t>Bronvermelding</a:t>
            </a:r>
            <a:endParaRPr lang="en-GB" noProof="0"/>
          </a:p>
        </p:txBody>
      </p:sp>
    </p:spTree>
    <p:extLst>
      <p:ext uri="{BB962C8B-B14F-4D97-AF65-F5344CB8AC3E}">
        <p14:creationId xmlns:p14="http://schemas.microsoft.com/office/powerpoint/2010/main" val="1931653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 Image (m) - ZI">
    <p:spTree>
      <p:nvGrpSpPr>
        <p:cNvPr id="1" name=""/>
        <p:cNvGrpSpPr/>
        <p:nvPr/>
      </p:nvGrpSpPr>
      <p:grpSpPr>
        <a:xfrm>
          <a:off x="0" y="0"/>
          <a:ext cx="0" cy="0"/>
          <a:chOff x="0" y="0"/>
          <a:chExt cx="0" cy="0"/>
        </a:xfrm>
      </p:grpSpPr>
      <p:sp>
        <p:nvSpPr>
          <p:cNvPr id="11" name="Rechthoek: afgeronde hoeken 10">
            <a:extLst>
              <a:ext uri="{FF2B5EF4-FFF2-40B4-BE49-F238E27FC236}">
                <a16:creationId xmlns:a16="http://schemas.microsoft.com/office/drawing/2014/main" id="{253B40DA-F1BB-4216-AD19-B5C5F882ED58}"/>
              </a:ext>
            </a:extLst>
          </p:cNvPr>
          <p:cNvSpPr/>
          <p:nvPr userDrawn="1"/>
        </p:nvSpPr>
        <p:spPr>
          <a:xfrm>
            <a:off x="0" y="-367937"/>
            <a:ext cx="1405128" cy="24622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en-GB" sz="1600" b="1" cap="none" baseline="0" noProof="0">
                <a:solidFill>
                  <a:schemeClr val="accent1"/>
                </a:solidFill>
                <a:latin typeface="+mj-lt"/>
              </a:rPr>
              <a:t>Text + Image (m)</a:t>
            </a:r>
          </a:p>
        </p:txBody>
      </p:sp>
      <p:sp>
        <p:nvSpPr>
          <p:cNvPr id="218" name="Tijdelijke aanduiding voor tekst 15">
            <a:extLst>
              <a:ext uri="{FF2B5EF4-FFF2-40B4-BE49-F238E27FC236}">
                <a16:creationId xmlns:a16="http://schemas.microsoft.com/office/drawing/2014/main" id="{3BE19778-44F1-953C-EA22-FF6E1778C9EF}"/>
              </a:ext>
            </a:extLst>
          </p:cNvPr>
          <p:cNvSpPr>
            <a:spLocks noGrp="1"/>
          </p:cNvSpPr>
          <p:nvPr>
            <p:ph type="body" sz="quarter" idx="15" hasCustomPrompt="1"/>
          </p:nvPr>
        </p:nvSpPr>
        <p:spPr>
          <a:xfrm>
            <a:off x="720000" y="6060536"/>
            <a:ext cx="932400" cy="475200"/>
          </a:xfrm>
          <a:blipFill>
            <a:blip r:embed="rId2"/>
            <a:stretch>
              <a:fillRect/>
            </a:stretch>
          </a:blipFill>
        </p:spPr>
        <p:txBody>
          <a:bodyPr/>
          <a:lstStyle>
            <a:lvl1pPr marL="0" indent="0">
              <a:buNone/>
              <a:defRPr sz="100"/>
            </a:lvl1pPr>
          </a:lstStyle>
          <a:p>
            <a:pPr lvl="0"/>
            <a:r>
              <a:rPr lang="en-GB"/>
              <a:t> </a:t>
            </a:r>
          </a:p>
        </p:txBody>
      </p:sp>
      <p:sp>
        <p:nvSpPr>
          <p:cNvPr id="220" name="Tijdelijke aanduiding voor tekst 12">
            <a:extLst>
              <a:ext uri="{FF2B5EF4-FFF2-40B4-BE49-F238E27FC236}">
                <a16:creationId xmlns:a16="http://schemas.microsoft.com/office/drawing/2014/main" id="{33C4A877-F359-9CEA-C4D3-35A66DC7F0B8}"/>
              </a:ext>
            </a:extLst>
          </p:cNvPr>
          <p:cNvSpPr>
            <a:spLocks noGrp="1"/>
          </p:cNvSpPr>
          <p:nvPr>
            <p:ph type="body" sz="quarter" idx="18" hasCustomPrompt="1"/>
          </p:nvPr>
        </p:nvSpPr>
        <p:spPr>
          <a:xfrm>
            <a:off x="708207" y="707795"/>
            <a:ext cx="36000" cy="396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buNone/>
              <a:defRPr sz="100"/>
            </a:lvl1pPr>
          </a:lstStyle>
          <a:p>
            <a:pPr lvl="0"/>
            <a:r>
              <a:rPr lang="en-GB"/>
              <a:t> </a:t>
            </a:r>
          </a:p>
        </p:txBody>
      </p:sp>
      <p:sp>
        <p:nvSpPr>
          <p:cNvPr id="221" name="Tijdelijke aanduiding voor titel 1">
            <a:extLst>
              <a:ext uri="{FF2B5EF4-FFF2-40B4-BE49-F238E27FC236}">
                <a16:creationId xmlns:a16="http://schemas.microsoft.com/office/drawing/2014/main" id="{5030F55B-FB8E-4467-0D21-99D71C721117}"/>
              </a:ext>
            </a:extLst>
          </p:cNvPr>
          <p:cNvSpPr>
            <a:spLocks noGrp="1"/>
          </p:cNvSpPr>
          <p:nvPr>
            <p:ph type="title" hasCustomPrompt="1"/>
          </p:nvPr>
        </p:nvSpPr>
        <p:spPr>
          <a:xfrm>
            <a:off x="865163" y="722313"/>
            <a:ext cx="4906987" cy="342211"/>
          </a:xfrm>
          <a:prstGeom prst="rect">
            <a:avLst/>
          </a:prstGeom>
        </p:spPr>
        <p:txBody>
          <a:bodyPr vert="horz" lIns="0" tIns="0" rIns="0" bIns="0" rtlCol="0" anchor="t">
            <a:noAutofit/>
          </a:bodyPr>
          <a:lstStyle/>
          <a:p>
            <a:r>
              <a:rPr lang="en-GB" noProof="0"/>
              <a:t>Place the title of the slide here</a:t>
            </a:r>
          </a:p>
        </p:txBody>
      </p:sp>
      <p:sp>
        <p:nvSpPr>
          <p:cNvPr id="2" name="Tijdelijke aanduiding voor afbeelding 16">
            <a:extLst>
              <a:ext uri="{FF2B5EF4-FFF2-40B4-BE49-F238E27FC236}">
                <a16:creationId xmlns:a16="http://schemas.microsoft.com/office/drawing/2014/main" id="{7EB00BD1-BA2D-C9EF-BA69-1D83A7D2B99D}"/>
              </a:ext>
            </a:extLst>
          </p:cNvPr>
          <p:cNvSpPr>
            <a:spLocks noGrp="1"/>
          </p:cNvSpPr>
          <p:nvPr>
            <p:ph type="pic" sz="quarter" idx="14" hasCustomPrompt="1"/>
          </p:nvPr>
        </p:nvSpPr>
        <p:spPr>
          <a:xfrm>
            <a:off x="6384888" y="722312"/>
            <a:ext cx="5078417" cy="5083175"/>
          </a:xfrm>
          <a:prstGeom prst="roundRect">
            <a:avLst>
              <a:gd name="adj" fmla="val 3310"/>
            </a:avLst>
          </a:prstGeom>
          <a:solidFill>
            <a:schemeClr val="bg1">
              <a:lumMod val="95000"/>
            </a:schemeClr>
          </a:solidFill>
          <a:ln w="15875">
            <a:noFill/>
          </a:ln>
        </p:spPr>
        <p:txBody>
          <a:bodyPr lIns="612000" tIns="0" rIns="612000" bIns="1080000" anchor="ctr" anchorCtr="0"/>
          <a:lstStyle>
            <a:lvl1pPr marL="0" indent="0" algn="ctr">
              <a:buNone/>
              <a:defRPr sz="1200" i="1">
                <a:solidFill>
                  <a:schemeClr val="bg1">
                    <a:lumMod val="50000"/>
                  </a:schemeClr>
                </a:solidFill>
              </a:defRPr>
            </a:lvl1pPr>
          </a:lstStyle>
          <a:p>
            <a:r>
              <a:rPr lang="en-GB" noProof="0"/>
              <a:t>Select this placeholder, go to the tab ‘Slidebuilder’, click on ‘Images’, select the preferred image and click on ‘Insert’.</a:t>
            </a:r>
          </a:p>
        </p:txBody>
      </p:sp>
      <p:sp>
        <p:nvSpPr>
          <p:cNvPr id="155" name="Tijdelijke aanduiding voor tekst 19">
            <a:extLst>
              <a:ext uri="{FF2B5EF4-FFF2-40B4-BE49-F238E27FC236}">
                <a16:creationId xmlns:a16="http://schemas.microsoft.com/office/drawing/2014/main" id="{3351D58B-ECE3-3E2B-1FE6-13A003DEE422}"/>
              </a:ext>
            </a:extLst>
          </p:cNvPr>
          <p:cNvSpPr>
            <a:spLocks noGrp="1"/>
          </p:cNvSpPr>
          <p:nvPr>
            <p:ph type="body" sz="quarter" idx="20" hasCustomPrompt="1"/>
          </p:nvPr>
        </p:nvSpPr>
        <p:spPr>
          <a:xfrm>
            <a:off x="6684950" y="5054643"/>
            <a:ext cx="1997075" cy="548005"/>
          </a:xfrm>
        </p:spPr>
        <p:txBody>
          <a:bodyPr anchor="b"/>
          <a:lstStyle>
            <a:lvl1pPr marL="0" indent="0">
              <a:lnSpc>
                <a:spcPts val="1400"/>
              </a:lnSpc>
              <a:buNone/>
              <a:defRPr sz="1100">
                <a:solidFill>
                  <a:schemeClr val="bg2"/>
                </a:solidFill>
                <a:effectLst>
                  <a:outerShdw blurRad="228600" dir="5400000" algn="ctr" rotWithShape="0">
                    <a:srgbClr val="000000">
                      <a:alpha val="35000"/>
                    </a:srgbClr>
                  </a:outerShdw>
                </a:effectLst>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a:t>
            </a:r>
            <a:r>
              <a:rPr lang="nl-NL"/>
              <a:t> </a:t>
            </a:r>
            <a:r>
              <a:rPr lang="nl-NL" err="1"/>
              <a:t>adipisci</a:t>
            </a:r>
            <a:r>
              <a:rPr lang="nl-NL"/>
              <a:t> </a:t>
            </a:r>
            <a:r>
              <a:rPr lang="nl-NL" err="1"/>
              <a:t>elit</a:t>
            </a:r>
            <a:r>
              <a:rPr lang="nl-NL"/>
              <a:t>. </a:t>
            </a:r>
            <a:r>
              <a:rPr lang="nl-NL" err="1"/>
              <a:t>Pellentes</a:t>
            </a:r>
            <a:r>
              <a:rPr lang="nl-NL"/>
              <a:t> </a:t>
            </a:r>
            <a:r>
              <a:rPr lang="nl-NL" err="1"/>
              <a:t>blandit</a:t>
            </a:r>
            <a:r>
              <a:rPr lang="nl-NL"/>
              <a:t> </a:t>
            </a:r>
            <a:r>
              <a:rPr lang="nl-NL" err="1"/>
              <a:t>felis</a:t>
            </a:r>
            <a:r>
              <a:rPr lang="nl-NL"/>
              <a:t> </a:t>
            </a:r>
            <a:r>
              <a:rPr lang="nl-NL" err="1"/>
              <a:t>eu</a:t>
            </a:r>
            <a:r>
              <a:rPr lang="nl-NL"/>
              <a:t> </a:t>
            </a:r>
            <a:r>
              <a:rPr lang="nl-NL" err="1"/>
              <a:t>ullamcorp</a:t>
            </a:r>
            <a:r>
              <a:rPr lang="nl-NL"/>
              <a:t> temp</a:t>
            </a:r>
          </a:p>
        </p:txBody>
      </p:sp>
      <p:sp>
        <p:nvSpPr>
          <p:cNvPr id="5" name="Tijdelijke aanduiding voor tekst 2">
            <a:extLst>
              <a:ext uri="{FF2B5EF4-FFF2-40B4-BE49-F238E27FC236}">
                <a16:creationId xmlns:a16="http://schemas.microsoft.com/office/drawing/2014/main" id="{24DFA03F-3858-96BE-4388-E5F802B292A7}"/>
              </a:ext>
            </a:extLst>
          </p:cNvPr>
          <p:cNvSpPr>
            <a:spLocks noGrp="1"/>
          </p:cNvSpPr>
          <p:nvPr>
            <p:ph idx="21"/>
          </p:nvPr>
        </p:nvSpPr>
        <p:spPr>
          <a:xfrm>
            <a:off x="720000" y="1991183"/>
            <a:ext cx="5051112" cy="3815024"/>
          </a:xfrm>
          <a:prstGeom prst="rect">
            <a:avLst/>
          </a:prstGeom>
        </p:spPr>
        <p:txBody>
          <a:bodyPr vert="horz" lIns="0" tIns="0" rIns="0" bIns="0" rtlCol="0">
            <a:noAutofit/>
          </a:bodyPr>
          <a:lstStyle/>
          <a:p>
            <a:pPr lvl="0"/>
            <a:r>
              <a:rPr lang="en-GB" noProof="0"/>
              <a:t>Plain text #1</a:t>
            </a:r>
          </a:p>
          <a:p>
            <a:pPr lvl="1"/>
            <a:r>
              <a:rPr lang="en-GB" noProof="0"/>
              <a:t>Plain text #2</a:t>
            </a:r>
          </a:p>
          <a:p>
            <a:pPr lvl="2"/>
            <a:r>
              <a:rPr lang="en-GB" noProof="0"/>
              <a:t>Heading #1</a:t>
            </a:r>
          </a:p>
          <a:p>
            <a:pPr lvl="3"/>
            <a:r>
              <a:rPr lang="en-GB" noProof="0" err="1"/>
              <a:t>Tekst</a:t>
            </a:r>
            <a:endParaRPr lang="en-GB" noProof="0"/>
          </a:p>
          <a:p>
            <a:pPr lvl="4"/>
            <a:r>
              <a:rPr lang="en-GB" noProof="0"/>
              <a:t>Heading #3</a:t>
            </a:r>
          </a:p>
          <a:p>
            <a:pPr lvl="5"/>
            <a:r>
              <a:rPr lang="en-GB" noProof="0"/>
              <a:t>Heading #4</a:t>
            </a:r>
          </a:p>
          <a:p>
            <a:pPr lvl="6"/>
            <a:r>
              <a:rPr lang="en-GB" noProof="0"/>
              <a:t>Numbers</a:t>
            </a:r>
          </a:p>
          <a:p>
            <a:pPr lvl="7"/>
            <a:r>
              <a:rPr lang="en-GB" noProof="0"/>
              <a:t>Letters</a:t>
            </a:r>
          </a:p>
          <a:p>
            <a:pPr marL="0" marR="0" lvl="8" indent="0" algn="l" defTabSz="914400" rtl="0" eaLnBrk="1" fontAlgn="auto" latinLnBrk="0" hangingPunct="1">
              <a:lnSpc>
                <a:spcPct val="90000"/>
              </a:lnSpc>
              <a:spcBef>
                <a:spcPts val="600"/>
              </a:spcBef>
              <a:spcAft>
                <a:spcPts val="600"/>
              </a:spcAft>
              <a:buClr>
                <a:schemeClr val="tx2"/>
              </a:buClr>
              <a:buSzTx/>
              <a:buFontTx/>
              <a:buNone/>
              <a:tabLst/>
              <a:defRPr/>
            </a:pPr>
            <a:r>
              <a:rPr lang="en-GB" noProof="0" err="1"/>
              <a:t>Bronvermelding</a:t>
            </a:r>
            <a:endParaRPr lang="en-GB" noProof="0"/>
          </a:p>
        </p:txBody>
      </p:sp>
    </p:spTree>
    <p:extLst>
      <p:ext uri="{BB962C8B-B14F-4D97-AF65-F5344CB8AC3E}">
        <p14:creationId xmlns:p14="http://schemas.microsoft.com/office/powerpoint/2010/main" val="95401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 Image (m) #2 - ZI">
    <p:spTree>
      <p:nvGrpSpPr>
        <p:cNvPr id="1" name=""/>
        <p:cNvGrpSpPr/>
        <p:nvPr/>
      </p:nvGrpSpPr>
      <p:grpSpPr>
        <a:xfrm>
          <a:off x="0" y="0"/>
          <a:ext cx="0" cy="0"/>
          <a:chOff x="0" y="0"/>
          <a:chExt cx="0" cy="0"/>
        </a:xfrm>
      </p:grpSpPr>
      <p:sp>
        <p:nvSpPr>
          <p:cNvPr id="3" name="Tijdelijke aanduiding voor tekst 10">
            <a:extLst>
              <a:ext uri="{FF2B5EF4-FFF2-40B4-BE49-F238E27FC236}">
                <a16:creationId xmlns:a16="http://schemas.microsoft.com/office/drawing/2014/main" id="{F6BD834E-3907-41A2-9B76-CE91FA6E9A4D}"/>
              </a:ext>
            </a:extLst>
          </p:cNvPr>
          <p:cNvSpPr txBox="1">
            <a:spLocks/>
          </p:cNvSpPr>
          <p:nvPr userDrawn="1"/>
        </p:nvSpPr>
        <p:spPr>
          <a:xfrm>
            <a:off x="193040" y="225424"/>
            <a:ext cx="11805920" cy="6424295"/>
          </a:xfrm>
          <a:prstGeom prst="roundRect">
            <a:avLst>
              <a:gd name="adj" fmla="val 3563"/>
            </a:avLst>
          </a:prstGeom>
          <a:solidFill>
            <a:schemeClr val="accent2"/>
          </a:solidFill>
        </p:spPr>
        <p:txBody>
          <a:bodyPr wrap="square">
            <a:noAutofit/>
          </a:bodyPr>
          <a:lstStyle>
            <a:lvl1pPr marL="0" indent="0" algn="l" defTabSz="914400" rtl="0" eaLnBrk="1" latinLnBrk="0" hangingPunct="1">
              <a:lnSpc>
                <a:spcPct val="90000"/>
              </a:lnSpc>
              <a:spcBef>
                <a:spcPts val="600"/>
              </a:spcBef>
              <a:spcAft>
                <a:spcPts val="600"/>
              </a:spcAft>
              <a:buClr>
                <a:schemeClr val="accent1"/>
              </a:buClr>
              <a:buSzPct val="110000"/>
              <a:buFont typeface="Aptos" panose="020B0004020202020204" pitchFamily="34" charset="0"/>
              <a:buNone/>
              <a:defRPr sz="100" kern="1200">
                <a:solidFill>
                  <a:schemeClr val="tx1"/>
                </a:solidFill>
                <a:latin typeface="+mn-lt"/>
                <a:ea typeface="+mn-ea"/>
                <a:cs typeface="+mn-cs"/>
              </a:defRPr>
            </a:lvl1pPr>
            <a:lvl2pPr marL="355600" indent="-177800" algn="l" defTabSz="914400" rtl="0" eaLnBrk="1" latinLnBrk="0" hangingPunct="1">
              <a:lnSpc>
                <a:spcPct val="90000"/>
              </a:lnSpc>
              <a:spcBef>
                <a:spcPts val="600"/>
              </a:spcBef>
              <a:spcAft>
                <a:spcPts val="600"/>
              </a:spcAft>
              <a:buClr>
                <a:schemeClr val="tx2"/>
              </a:buClr>
              <a:buFont typeface="Aptos" panose="020B0004020202020204" pitchFamily="34" charset="0"/>
              <a:buChar char="•"/>
              <a:tabLst/>
              <a:defRPr sz="1600" kern="1200">
                <a:solidFill>
                  <a:schemeClr val="tx1"/>
                </a:solidFill>
                <a:latin typeface="+mn-lt"/>
                <a:ea typeface="+mn-ea"/>
                <a:cs typeface="+mn-cs"/>
              </a:defRPr>
            </a:lvl2pPr>
            <a:lvl3pPr marL="531813" indent="-176213"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1600" kern="1200">
                <a:solidFill>
                  <a:schemeClr val="tx1"/>
                </a:solidFill>
                <a:latin typeface="+mn-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5"/>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2"/>
                </a:solidFill>
                <a:latin typeface="+mj-lt"/>
                <a:ea typeface="+mn-ea"/>
                <a:cs typeface="+mn-cs"/>
              </a:defRPr>
            </a:lvl6pPr>
            <a:lvl7pPr marL="342900" indent="-342900" algn="l" defTabSz="914400" rtl="0" eaLnBrk="1" latinLnBrk="0" hangingPunct="1">
              <a:lnSpc>
                <a:spcPct val="90000"/>
              </a:lnSpc>
              <a:spcBef>
                <a:spcPts val="600"/>
              </a:spcBef>
              <a:spcAft>
                <a:spcPts val="600"/>
              </a:spcAft>
              <a:buClr>
                <a:schemeClr val="tx2"/>
              </a:buClr>
              <a:buFont typeface="+mj-lt"/>
              <a:buAutoNum type="arabicPeriod"/>
              <a:tabLst/>
              <a:defRPr sz="1600" kern="1200">
                <a:solidFill>
                  <a:schemeClr val="tx1"/>
                </a:solidFill>
                <a:latin typeface="+mn-lt"/>
                <a:ea typeface="+mn-ea"/>
                <a:cs typeface="+mn-cs"/>
              </a:defRPr>
            </a:lvl7pPr>
            <a:lvl8pPr marL="342900" indent="-342900" algn="l" defTabSz="914400" rtl="0" eaLnBrk="1" latinLnBrk="0" hangingPunct="1">
              <a:lnSpc>
                <a:spcPct val="90000"/>
              </a:lnSpc>
              <a:spcBef>
                <a:spcPts val="600"/>
              </a:spcBef>
              <a:spcAft>
                <a:spcPts val="600"/>
              </a:spcAft>
              <a:buClr>
                <a:schemeClr val="tx2"/>
              </a:buClr>
              <a:buFont typeface="+mj-lt"/>
              <a:buAutoNum type="alphaLcPeriod"/>
              <a:defRPr sz="1600" kern="1200">
                <a:solidFill>
                  <a:schemeClr val="tx1"/>
                </a:solidFill>
                <a:latin typeface="+mn-lt"/>
                <a:ea typeface="+mn-ea"/>
                <a:cs typeface="+mn-cs"/>
              </a:defRPr>
            </a:lvl8pPr>
            <a:lvl9pPr marL="541338" indent="-180975"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600" i="0" kern="1200">
                <a:solidFill>
                  <a:schemeClr val="tx1"/>
                </a:solidFill>
                <a:latin typeface="+mn-lt"/>
                <a:ea typeface="+mn-ea"/>
                <a:cs typeface="+mn-cs"/>
              </a:defRPr>
            </a:lvl9pPr>
          </a:lstStyle>
          <a:p>
            <a:r>
              <a:rPr lang="en-GB"/>
              <a:t> </a:t>
            </a:r>
          </a:p>
        </p:txBody>
      </p:sp>
      <p:sp>
        <p:nvSpPr>
          <p:cNvPr id="9" name="Tijdelijke aanduiding voor afbeelding 16">
            <a:extLst>
              <a:ext uri="{FF2B5EF4-FFF2-40B4-BE49-F238E27FC236}">
                <a16:creationId xmlns:a16="http://schemas.microsoft.com/office/drawing/2014/main" id="{10BFD0E2-5F0D-CCB5-C6BA-7E4A769CB1AA}"/>
              </a:ext>
            </a:extLst>
          </p:cNvPr>
          <p:cNvSpPr>
            <a:spLocks noGrp="1"/>
          </p:cNvSpPr>
          <p:nvPr>
            <p:ph type="pic" sz="quarter" idx="14" hasCustomPrompt="1"/>
          </p:nvPr>
        </p:nvSpPr>
        <p:spPr>
          <a:xfrm>
            <a:off x="6383338" y="722312"/>
            <a:ext cx="5079968" cy="5083175"/>
          </a:xfrm>
          <a:prstGeom prst="roundRect">
            <a:avLst>
              <a:gd name="adj" fmla="val 3310"/>
            </a:avLst>
          </a:prstGeom>
          <a:solidFill>
            <a:schemeClr val="bg1">
              <a:lumMod val="95000"/>
            </a:schemeClr>
          </a:solidFill>
          <a:ln w="15875">
            <a:noFill/>
          </a:ln>
        </p:spPr>
        <p:txBody>
          <a:bodyPr lIns="612000" tIns="0" rIns="612000" bIns="1080000" anchor="ctr" anchorCtr="0"/>
          <a:lstStyle>
            <a:lvl1pPr marL="0" indent="0" algn="ctr">
              <a:buNone/>
              <a:defRPr sz="1200" i="1">
                <a:solidFill>
                  <a:schemeClr val="bg1">
                    <a:lumMod val="50000"/>
                  </a:schemeClr>
                </a:solidFill>
              </a:defRPr>
            </a:lvl1pPr>
          </a:lstStyle>
          <a:p>
            <a:r>
              <a:rPr lang="en-GB"/>
              <a:t>Select this placeholder, go to the tab ‘Slidebuilder’, click on ‘Images’, select the preferred image and click on ‘Insert’.</a:t>
            </a:r>
          </a:p>
        </p:txBody>
      </p:sp>
      <p:sp>
        <p:nvSpPr>
          <p:cNvPr id="11" name="Rechthoek: afgeronde hoeken 10">
            <a:extLst>
              <a:ext uri="{FF2B5EF4-FFF2-40B4-BE49-F238E27FC236}">
                <a16:creationId xmlns:a16="http://schemas.microsoft.com/office/drawing/2014/main" id="{253B40DA-F1BB-4216-AD19-B5C5F882ED58}"/>
              </a:ext>
            </a:extLst>
          </p:cNvPr>
          <p:cNvSpPr/>
          <p:nvPr userDrawn="1"/>
        </p:nvSpPr>
        <p:spPr>
          <a:xfrm>
            <a:off x="0" y="-367937"/>
            <a:ext cx="1658403" cy="24622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l"/>
            <a:r>
              <a:rPr lang="en-GB" sz="1600" b="1" cap="none" baseline="0" noProof="0">
                <a:solidFill>
                  <a:schemeClr val="accent1"/>
                </a:solidFill>
                <a:latin typeface="+mj-lt"/>
              </a:rPr>
              <a:t>Text + Image (m) #2</a:t>
            </a:r>
          </a:p>
        </p:txBody>
      </p:sp>
      <p:sp>
        <p:nvSpPr>
          <p:cNvPr id="153" name="Tijdelijke aanduiding voor tekst 15">
            <a:extLst>
              <a:ext uri="{FF2B5EF4-FFF2-40B4-BE49-F238E27FC236}">
                <a16:creationId xmlns:a16="http://schemas.microsoft.com/office/drawing/2014/main" id="{380B44AC-E580-A908-59CD-5CACCF78562B}"/>
              </a:ext>
            </a:extLst>
          </p:cNvPr>
          <p:cNvSpPr>
            <a:spLocks noGrp="1"/>
          </p:cNvSpPr>
          <p:nvPr>
            <p:ph type="body" sz="quarter" idx="21" hasCustomPrompt="1"/>
          </p:nvPr>
        </p:nvSpPr>
        <p:spPr>
          <a:xfrm>
            <a:off x="720000" y="6060536"/>
            <a:ext cx="932400" cy="475200"/>
          </a:xfrm>
          <a:blipFill>
            <a:blip r:embed="rId2"/>
            <a:stretch>
              <a:fillRect/>
            </a:stretch>
          </a:blipFill>
        </p:spPr>
        <p:txBody>
          <a:bodyPr/>
          <a:lstStyle>
            <a:lvl1pPr marL="0" indent="0">
              <a:buNone/>
              <a:defRPr sz="100"/>
            </a:lvl1pPr>
          </a:lstStyle>
          <a:p>
            <a:pPr lvl="0"/>
            <a:r>
              <a:rPr lang="en-GB"/>
              <a:t> </a:t>
            </a:r>
          </a:p>
        </p:txBody>
      </p:sp>
      <p:sp>
        <p:nvSpPr>
          <p:cNvPr id="155" name="Tijdelijke aanduiding voor tekst 12">
            <a:extLst>
              <a:ext uri="{FF2B5EF4-FFF2-40B4-BE49-F238E27FC236}">
                <a16:creationId xmlns:a16="http://schemas.microsoft.com/office/drawing/2014/main" id="{CDA88BF1-97D7-4E3A-FB62-FF36CB6D9C6C}"/>
              </a:ext>
            </a:extLst>
          </p:cNvPr>
          <p:cNvSpPr>
            <a:spLocks noGrp="1"/>
          </p:cNvSpPr>
          <p:nvPr>
            <p:ph type="body" sz="quarter" idx="18" hasCustomPrompt="1"/>
          </p:nvPr>
        </p:nvSpPr>
        <p:spPr>
          <a:xfrm>
            <a:off x="708207" y="707795"/>
            <a:ext cx="36000" cy="396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buNone/>
              <a:defRPr sz="100"/>
            </a:lvl1pPr>
          </a:lstStyle>
          <a:p>
            <a:pPr lvl="0"/>
            <a:r>
              <a:rPr lang="en-GB"/>
              <a:t> </a:t>
            </a:r>
          </a:p>
        </p:txBody>
      </p:sp>
      <p:sp>
        <p:nvSpPr>
          <p:cNvPr id="156" name="Tijdelijke aanduiding voor titel 1">
            <a:extLst>
              <a:ext uri="{FF2B5EF4-FFF2-40B4-BE49-F238E27FC236}">
                <a16:creationId xmlns:a16="http://schemas.microsoft.com/office/drawing/2014/main" id="{1E6E85CD-DAE0-F74D-94D4-E274087210F3}"/>
              </a:ext>
            </a:extLst>
          </p:cNvPr>
          <p:cNvSpPr>
            <a:spLocks noGrp="1"/>
          </p:cNvSpPr>
          <p:nvPr>
            <p:ph type="title" hasCustomPrompt="1"/>
          </p:nvPr>
        </p:nvSpPr>
        <p:spPr>
          <a:xfrm>
            <a:off x="865163" y="722313"/>
            <a:ext cx="4906987" cy="342211"/>
          </a:xfrm>
          <a:prstGeom prst="rect">
            <a:avLst/>
          </a:prstGeom>
        </p:spPr>
        <p:txBody>
          <a:bodyPr vert="horz" lIns="0" tIns="0" rIns="0" bIns="0" rtlCol="0" anchor="t">
            <a:noAutofit/>
          </a:bodyPr>
          <a:lstStyle/>
          <a:p>
            <a:r>
              <a:rPr lang="en-GB" noProof="0"/>
              <a:t>Place the title of the slide here</a:t>
            </a:r>
          </a:p>
        </p:txBody>
      </p:sp>
      <p:sp>
        <p:nvSpPr>
          <p:cNvPr id="92" name="Tijdelijke aanduiding voor tekst 19">
            <a:extLst>
              <a:ext uri="{FF2B5EF4-FFF2-40B4-BE49-F238E27FC236}">
                <a16:creationId xmlns:a16="http://schemas.microsoft.com/office/drawing/2014/main" id="{A2283E91-1839-7792-06DA-AB19C45F1AC3}"/>
              </a:ext>
            </a:extLst>
          </p:cNvPr>
          <p:cNvSpPr>
            <a:spLocks noGrp="1"/>
          </p:cNvSpPr>
          <p:nvPr>
            <p:ph type="body" sz="quarter" idx="20" hasCustomPrompt="1"/>
          </p:nvPr>
        </p:nvSpPr>
        <p:spPr>
          <a:xfrm>
            <a:off x="6684950" y="5054643"/>
            <a:ext cx="1997075" cy="548005"/>
          </a:xfrm>
        </p:spPr>
        <p:txBody>
          <a:bodyPr anchor="b"/>
          <a:lstStyle>
            <a:lvl1pPr marL="0" indent="0">
              <a:lnSpc>
                <a:spcPts val="1400"/>
              </a:lnSpc>
              <a:buNone/>
              <a:defRPr sz="1100">
                <a:solidFill>
                  <a:schemeClr val="bg2"/>
                </a:solidFill>
                <a:effectLst>
                  <a:outerShdw blurRad="228600" dir="5400000" algn="ctr" rotWithShape="0">
                    <a:srgbClr val="000000">
                      <a:alpha val="35000"/>
                    </a:srgbClr>
                  </a:outerShdw>
                </a:effectLst>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a:t>
            </a:r>
            <a:r>
              <a:rPr lang="nl-NL"/>
              <a:t> </a:t>
            </a:r>
            <a:r>
              <a:rPr lang="nl-NL" err="1"/>
              <a:t>adipisci</a:t>
            </a:r>
            <a:r>
              <a:rPr lang="nl-NL"/>
              <a:t> </a:t>
            </a:r>
            <a:r>
              <a:rPr lang="nl-NL" err="1"/>
              <a:t>elit</a:t>
            </a:r>
            <a:r>
              <a:rPr lang="nl-NL"/>
              <a:t>. </a:t>
            </a:r>
            <a:r>
              <a:rPr lang="nl-NL" err="1"/>
              <a:t>Pellentes</a:t>
            </a:r>
            <a:r>
              <a:rPr lang="nl-NL"/>
              <a:t> </a:t>
            </a:r>
            <a:r>
              <a:rPr lang="nl-NL" err="1"/>
              <a:t>blandit</a:t>
            </a:r>
            <a:r>
              <a:rPr lang="nl-NL"/>
              <a:t> </a:t>
            </a:r>
            <a:r>
              <a:rPr lang="nl-NL" err="1"/>
              <a:t>felis</a:t>
            </a:r>
            <a:r>
              <a:rPr lang="nl-NL"/>
              <a:t> </a:t>
            </a:r>
            <a:r>
              <a:rPr lang="nl-NL" err="1"/>
              <a:t>eu</a:t>
            </a:r>
            <a:r>
              <a:rPr lang="nl-NL"/>
              <a:t> </a:t>
            </a:r>
            <a:r>
              <a:rPr lang="nl-NL" err="1"/>
              <a:t>ullamcorp</a:t>
            </a:r>
            <a:r>
              <a:rPr lang="nl-NL"/>
              <a:t> temp</a:t>
            </a:r>
          </a:p>
        </p:txBody>
      </p:sp>
      <p:sp>
        <p:nvSpPr>
          <p:cNvPr id="93" name="Tijdelijke aanduiding voor tekst 2">
            <a:extLst>
              <a:ext uri="{FF2B5EF4-FFF2-40B4-BE49-F238E27FC236}">
                <a16:creationId xmlns:a16="http://schemas.microsoft.com/office/drawing/2014/main" id="{FE2117E3-17F1-167E-12D4-7BCDC5780491}"/>
              </a:ext>
            </a:extLst>
          </p:cNvPr>
          <p:cNvSpPr>
            <a:spLocks noGrp="1"/>
          </p:cNvSpPr>
          <p:nvPr>
            <p:ph idx="22"/>
          </p:nvPr>
        </p:nvSpPr>
        <p:spPr>
          <a:xfrm>
            <a:off x="720000" y="1991183"/>
            <a:ext cx="5052150" cy="3815024"/>
          </a:xfrm>
          <a:prstGeom prst="rect">
            <a:avLst/>
          </a:prstGeom>
        </p:spPr>
        <p:txBody>
          <a:bodyPr vert="horz" lIns="0" tIns="0" rIns="0" bIns="0" rtlCol="0">
            <a:noAutofit/>
          </a:bodyPr>
          <a:lstStyle/>
          <a:p>
            <a:pPr lvl="0"/>
            <a:r>
              <a:rPr lang="en-GB" noProof="0"/>
              <a:t>Plain text #1</a:t>
            </a:r>
          </a:p>
          <a:p>
            <a:pPr lvl="1"/>
            <a:r>
              <a:rPr lang="en-GB" noProof="0"/>
              <a:t>Plain text #2</a:t>
            </a:r>
          </a:p>
          <a:p>
            <a:pPr lvl="2"/>
            <a:r>
              <a:rPr lang="en-GB" noProof="0"/>
              <a:t>Heading #1</a:t>
            </a:r>
          </a:p>
          <a:p>
            <a:pPr lvl="3"/>
            <a:r>
              <a:rPr lang="en-GB" noProof="0" err="1"/>
              <a:t>Tekst</a:t>
            </a:r>
            <a:endParaRPr lang="en-GB" noProof="0"/>
          </a:p>
          <a:p>
            <a:pPr lvl="4"/>
            <a:r>
              <a:rPr lang="en-GB" noProof="0"/>
              <a:t>Heading #3</a:t>
            </a:r>
          </a:p>
          <a:p>
            <a:pPr lvl="5"/>
            <a:r>
              <a:rPr lang="en-GB" noProof="0"/>
              <a:t>Heading #4</a:t>
            </a:r>
          </a:p>
          <a:p>
            <a:pPr lvl="6"/>
            <a:r>
              <a:rPr lang="en-GB" noProof="0"/>
              <a:t>Numbers</a:t>
            </a:r>
          </a:p>
          <a:p>
            <a:pPr lvl="7"/>
            <a:r>
              <a:rPr lang="en-GB" noProof="0"/>
              <a:t>Letters</a:t>
            </a:r>
          </a:p>
          <a:p>
            <a:pPr marL="0" marR="0" lvl="8" indent="0" algn="l" defTabSz="914400" rtl="0" eaLnBrk="1" fontAlgn="auto" latinLnBrk="0" hangingPunct="1">
              <a:lnSpc>
                <a:spcPct val="90000"/>
              </a:lnSpc>
              <a:spcBef>
                <a:spcPts val="600"/>
              </a:spcBef>
              <a:spcAft>
                <a:spcPts val="600"/>
              </a:spcAft>
              <a:buClr>
                <a:schemeClr val="tx2"/>
              </a:buClr>
              <a:buSzTx/>
              <a:buFontTx/>
              <a:buNone/>
              <a:tabLst/>
              <a:defRPr/>
            </a:pPr>
            <a:r>
              <a:rPr lang="en-GB" noProof="0" err="1"/>
              <a:t>Bronvermelding</a:t>
            </a:r>
            <a:endParaRPr lang="en-GB" noProof="0"/>
          </a:p>
        </p:txBody>
      </p:sp>
    </p:spTree>
    <p:extLst>
      <p:ext uri="{BB962C8B-B14F-4D97-AF65-F5344CB8AC3E}">
        <p14:creationId xmlns:p14="http://schemas.microsoft.com/office/powerpoint/2010/main" val="1721898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219B37A3-82F2-45D5-868F-F00F93F6E7B3}"/>
              </a:ext>
            </a:extLst>
          </p:cNvPr>
          <p:cNvSpPr>
            <a:spLocks noGrp="1"/>
          </p:cNvSpPr>
          <p:nvPr userDrawn="1">
            <p:ph type="title"/>
          </p:nvPr>
        </p:nvSpPr>
        <p:spPr>
          <a:xfrm>
            <a:off x="865163" y="722313"/>
            <a:ext cx="10582630" cy="342211"/>
          </a:xfrm>
          <a:prstGeom prst="rect">
            <a:avLst/>
          </a:prstGeom>
        </p:spPr>
        <p:txBody>
          <a:bodyPr vert="horz" lIns="0" tIns="0" rIns="0" bIns="0" rtlCol="0" anchor="t">
            <a:noAutofit/>
          </a:bodyPr>
          <a:lstStyle/>
          <a:p>
            <a:r>
              <a:rPr lang="en-GB" noProof="0"/>
              <a:t>Place the title of the slide here</a:t>
            </a:r>
          </a:p>
        </p:txBody>
      </p:sp>
      <p:sp>
        <p:nvSpPr>
          <p:cNvPr id="3" name="Tijdelijke aanduiding voor tekst 2">
            <a:extLst>
              <a:ext uri="{FF2B5EF4-FFF2-40B4-BE49-F238E27FC236}">
                <a16:creationId xmlns:a16="http://schemas.microsoft.com/office/drawing/2014/main" id="{061B9A90-182E-49A3-8BF5-04F32288137B}"/>
              </a:ext>
            </a:extLst>
          </p:cNvPr>
          <p:cNvSpPr>
            <a:spLocks noGrp="1"/>
          </p:cNvSpPr>
          <p:nvPr userDrawn="1">
            <p:ph type="body" idx="1"/>
          </p:nvPr>
        </p:nvSpPr>
        <p:spPr>
          <a:xfrm>
            <a:off x="720000" y="1592262"/>
            <a:ext cx="10752000" cy="4213945"/>
          </a:xfrm>
          <a:prstGeom prst="rect">
            <a:avLst/>
          </a:prstGeom>
        </p:spPr>
        <p:txBody>
          <a:bodyPr vert="horz" lIns="0" tIns="0" rIns="0" bIns="0" rtlCol="0">
            <a:noAutofit/>
          </a:bodyPr>
          <a:lstStyle/>
          <a:p>
            <a:pPr lvl="0"/>
            <a:r>
              <a:rPr lang="en-GB" noProof="0"/>
              <a:t>Bullet</a:t>
            </a:r>
          </a:p>
          <a:p>
            <a:pPr lvl="1"/>
            <a:r>
              <a:rPr lang="en-GB" noProof="0"/>
              <a:t>Sub-Bullet</a:t>
            </a:r>
          </a:p>
          <a:p>
            <a:pPr lvl="2"/>
            <a:r>
              <a:rPr lang="en-GB" noProof="0"/>
              <a:t>Sub-Bullet #2</a:t>
            </a:r>
          </a:p>
          <a:p>
            <a:pPr lvl="3"/>
            <a:r>
              <a:rPr lang="en-GB" noProof="0" err="1"/>
              <a:t>Tekst</a:t>
            </a:r>
            <a:endParaRPr lang="en-GB" noProof="0"/>
          </a:p>
          <a:p>
            <a:pPr lvl="4"/>
            <a:r>
              <a:rPr lang="en-GB" noProof="0"/>
              <a:t>Heading #1</a:t>
            </a:r>
          </a:p>
          <a:p>
            <a:pPr lvl="5"/>
            <a:r>
              <a:rPr lang="en-GB" noProof="0"/>
              <a:t>Heading #2</a:t>
            </a:r>
          </a:p>
          <a:p>
            <a:pPr lvl="6"/>
            <a:r>
              <a:rPr lang="en-GB" noProof="0"/>
              <a:t>Numbers</a:t>
            </a:r>
          </a:p>
          <a:p>
            <a:pPr lvl="7"/>
            <a:r>
              <a:rPr lang="en-GB" noProof="0"/>
              <a:t>Letters</a:t>
            </a:r>
          </a:p>
          <a:p>
            <a:pPr marL="0" marR="0" lvl="8" indent="0" algn="l" defTabSz="914400" rtl="0" eaLnBrk="1" fontAlgn="auto" latinLnBrk="0" hangingPunct="1">
              <a:lnSpc>
                <a:spcPct val="90000"/>
              </a:lnSpc>
              <a:spcBef>
                <a:spcPts val="600"/>
              </a:spcBef>
              <a:spcAft>
                <a:spcPts val="600"/>
              </a:spcAft>
              <a:buClr>
                <a:schemeClr val="tx2"/>
              </a:buClr>
              <a:buSzTx/>
              <a:buFontTx/>
              <a:buNone/>
              <a:tabLst/>
              <a:defRPr/>
            </a:pPr>
            <a:r>
              <a:rPr lang="en-GB" noProof="0" err="1"/>
              <a:t>Bronvermelding</a:t>
            </a:r>
            <a:endParaRPr lang="en-GB" noProof="0"/>
          </a:p>
        </p:txBody>
      </p:sp>
      <p:sp>
        <p:nvSpPr>
          <p:cNvPr id="5" name="Tijdelijke aanduiding voor voettekst 4">
            <a:extLst>
              <a:ext uri="{FF2B5EF4-FFF2-40B4-BE49-F238E27FC236}">
                <a16:creationId xmlns:a16="http://schemas.microsoft.com/office/drawing/2014/main" id="{293B2B64-2362-45C8-9E78-5ECAAAF3478D}"/>
              </a:ext>
            </a:extLst>
          </p:cNvPr>
          <p:cNvSpPr>
            <a:spLocks noGrp="1"/>
          </p:cNvSpPr>
          <p:nvPr userDrawn="1">
            <p:ph type="ftr" sz="quarter" idx="3"/>
          </p:nvPr>
        </p:nvSpPr>
        <p:spPr>
          <a:xfrm>
            <a:off x="2266793" y="7267316"/>
            <a:ext cx="4114800" cy="151790"/>
          </a:xfrm>
          <a:prstGeom prst="rect">
            <a:avLst/>
          </a:prstGeom>
        </p:spPr>
        <p:txBody>
          <a:bodyPr vert="horz" lIns="0" tIns="0" rIns="0" bIns="0" rtlCol="0" anchor="ctr">
            <a:noAutofit/>
          </a:bodyPr>
          <a:lstStyle>
            <a:lvl1pPr algn="l">
              <a:defRPr sz="1000">
                <a:solidFill>
                  <a:schemeClr val="tx1"/>
                </a:solidFill>
              </a:defRPr>
            </a:lvl1pPr>
          </a:lstStyle>
          <a:p>
            <a:r>
              <a:rPr lang="en-GB"/>
              <a:t>|  Published under cc-by licence</a:t>
            </a:r>
          </a:p>
        </p:txBody>
      </p:sp>
      <p:sp>
        <p:nvSpPr>
          <p:cNvPr id="6" name="Tijdelijke aanduiding voor dianummer 5">
            <a:extLst>
              <a:ext uri="{FF2B5EF4-FFF2-40B4-BE49-F238E27FC236}">
                <a16:creationId xmlns:a16="http://schemas.microsoft.com/office/drawing/2014/main" id="{5549FE6F-67CB-4243-BE03-A9A3C4007850}"/>
              </a:ext>
            </a:extLst>
          </p:cNvPr>
          <p:cNvSpPr>
            <a:spLocks noGrp="1"/>
          </p:cNvSpPr>
          <p:nvPr userDrawn="1">
            <p:ph type="sldNum" sz="quarter" idx="4"/>
          </p:nvPr>
        </p:nvSpPr>
        <p:spPr>
          <a:xfrm>
            <a:off x="11175566" y="7255814"/>
            <a:ext cx="284597" cy="151790"/>
          </a:xfrm>
          <a:prstGeom prst="rect">
            <a:avLst/>
          </a:prstGeom>
        </p:spPr>
        <p:txBody>
          <a:bodyPr vert="horz" lIns="0" tIns="0" rIns="0" bIns="0" rtlCol="0" anchor="ctr">
            <a:noAutofit/>
          </a:bodyPr>
          <a:lstStyle>
            <a:lvl1pPr algn="r">
              <a:defRPr sz="1000" b="1">
                <a:solidFill>
                  <a:schemeClr val="tx1"/>
                </a:solidFill>
                <a:latin typeface="+mj-lt"/>
              </a:defRPr>
            </a:lvl1pPr>
          </a:lstStyle>
          <a:p>
            <a:fld id="{D7B5DC5B-6873-43DB-ADC7-B15ACCE0DFDB}" type="slidenum">
              <a:rPr lang="en-GB" smtClean="0"/>
              <a:pPr/>
              <a:t>‹#›</a:t>
            </a:fld>
            <a:endParaRPr lang="en-GB"/>
          </a:p>
        </p:txBody>
      </p:sp>
      <p:grpSp>
        <p:nvGrpSpPr>
          <p:cNvPr id="15" name="GRID" hidden="1">
            <a:extLst>
              <a:ext uri="{FF2B5EF4-FFF2-40B4-BE49-F238E27FC236}">
                <a16:creationId xmlns:a16="http://schemas.microsoft.com/office/drawing/2014/main" id="{4129D105-9E64-446B-9706-45C80CEFF79A}"/>
              </a:ext>
            </a:extLst>
          </p:cNvPr>
          <p:cNvGrpSpPr/>
          <p:nvPr userDrawn="1"/>
        </p:nvGrpSpPr>
        <p:grpSpPr>
          <a:xfrm>
            <a:off x="0" y="0"/>
            <a:ext cx="12192000" cy="6858000"/>
            <a:chOff x="0" y="0"/>
            <a:chExt cx="12192000" cy="6858000"/>
          </a:xfrm>
          <a:solidFill>
            <a:schemeClr val="tx1">
              <a:alpha val="20000"/>
            </a:schemeClr>
          </a:solidFill>
        </p:grpSpPr>
        <p:sp>
          <p:nvSpPr>
            <p:cNvPr id="8" name="Rechthoek 7">
              <a:extLst>
                <a:ext uri="{FF2B5EF4-FFF2-40B4-BE49-F238E27FC236}">
                  <a16:creationId xmlns:a16="http://schemas.microsoft.com/office/drawing/2014/main" id="{7D9988B5-FF41-44BF-9EBA-8ED0383D0B4A}"/>
                </a:ext>
              </a:extLst>
            </p:cNvPr>
            <p:cNvSpPr/>
            <p:nvPr userDrawn="1"/>
          </p:nvSpPr>
          <p:spPr>
            <a:xfrm>
              <a:off x="0" y="0"/>
              <a:ext cx="12192000" cy="72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2" name="Rechthoek 11">
              <a:extLst>
                <a:ext uri="{FF2B5EF4-FFF2-40B4-BE49-F238E27FC236}">
                  <a16:creationId xmlns:a16="http://schemas.microsoft.com/office/drawing/2014/main" id="{223B51F0-7066-4BAC-B391-CBE4243866E1}"/>
                </a:ext>
              </a:extLst>
            </p:cNvPr>
            <p:cNvSpPr/>
            <p:nvPr userDrawn="1"/>
          </p:nvSpPr>
          <p:spPr>
            <a:xfrm>
              <a:off x="0" y="0"/>
              <a:ext cx="720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3" name="Rechthoek 12">
              <a:extLst>
                <a:ext uri="{FF2B5EF4-FFF2-40B4-BE49-F238E27FC236}">
                  <a16:creationId xmlns:a16="http://schemas.microsoft.com/office/drawing/2014/main" id="{986314BC-5B6A-423E-A18F-BE67EEBFD0AA}"/>
                </a:ext>
              </a:extLst>
            </p:cNvPr>
            <p:cNvSpPr/>
            <p:nvPr userDrawn="1"/>
          </p:nvSpPr>
          <p:spPr>
            <a:xfrm>
              <a:off x="11472000" y="0"/>
              <a:ext cx="720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6" name="Rechthoek 15">
              <a:extLst>
                <a:ext uri="{FF2B5EF4-FFF2-40B4-BE49-F238E27FC236}">
                  <a16:creationId xmlns:a16="http://schemas.microsoft.com/office/drawing/2014/main" id="{459F3FC6-346A-4720-8A58-EF51F3E955F9}"/>
                </a:ext>
              </a:extLst>
            </p:cNvPr>
            <p:cNvSpPr/>
            <p:nvPr userDrawn="1"/>
          </p:nvSpPr>
          <p:spPr>
            <a:xfrm>
              <a:off x="0" y="1064525"/>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7" name="Rechthoek 16">
              <a:extLst>
                <a:ext uri="{FF2B5EF4-FFF2-40B4-BE49-F238E27FC236}">
                  <a16:creationId xmlns:a16="http://schemas.microsoft.com/office/drawing/2014/main" id="{3D4E2D73-574C-4613-A3A4-5612A2E130A4}"/>
                </a:ext>
              </a:extLst>
            </p:cNvPr>
            <p:cNvSpPr/>
            <p:nvPr userDrawn="1"/>
          </p:nvSpPr>
          <p:spPr>
            <a:xfrm>
              <a:off x="0" y="6498000"/>
              <a:ext cx="12192000"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8" name="Rechthoek 17">
              <a:extLst>
                <a:ext uri="{FF2B5EF4-FFF2-40B4-BE49-F238E27FC236}">
                  <a16:creationId xmlns:a16="http://schemas.microsoft.com/office/drawing/2014/main" id="{52775937-D9EA-4974-9459-412AF5D1CBD4}"/>
                </a:ext>
              </a:extLst>
            </p:cNvPr>
            <p:cNvSpPr/>
            <p:nvPr userDrawn="1"/>
          </p:nvSpPr>
          <p:spPr>
            <a:xfrm>
              <a:off x="0" y="5806208"/>
              <a:ext cx="12192000" cy="54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grpSp>
      <p:sp>
        <p:nvSpPr>
          <p:cNvPr id="20" name="Tekstvak 19">
            <a:extLst>
              <a:ext uri="{FF2B5EF4-FFF2-40B4-BE49-F238E27FC236}">
                <a16:creationId xmlns:a16="http://schemas.microsoft.com/office/drawing/2014/main" id="{88A106C3-3B5C-4817-A9B9-E1AA65368768}"/>
              </a:ext>
            </a:extLst>
          </p:cNvPr>
          <p:cNvSpPr txBox="1"/>
          <p:nvPr userDrawn="1"/>
        </p:nvSpPr>
        <p:spPr>
          <a:xfrm>
            <a:off x="-12032" y="-542026"/>
            <a:ext cx="2129051" cy="150127"/>
          </a:xfrm>
          <a:prstGeom prst="rect">
            <a:avLst/>
          </a:prstGeom>
          <a:noFill/>
        </p:spPr>
        <p:txBody>
          <a:bodyPr wrap="square" lIns="0" tIns="0" rIns="0" bIns="0" rtlCol="0">
            <a:noAutofit/>
          </a:bodyPr>
          <a:lstStyle/>
          <a:p>
            <a:r>
              <a:rPr lang="en-GB" sz="1000" b="0" cap="all" baseline="0" noProof="0">
                <a:latin typeface="+mj-lt"/>
              </a:rPr>
              <a:t>Name of the layout</a:t>
            </a:r>
          </a:p>
        </p:txBody>
      </p:sp>
      <p:sp>
        <p:nvSpPr>
          <p:cNvPr id="4" name="Tijdelijke aanduiding voor datum 3">
            <a:extLst>
              <a:ext uri="{FF2B5EF4-FFF2-40B4-BE49-F238E27FC236}">
                <a16:creationId xmlns:a16="http://schemas.microsoft.com/office/drawing/2014/main" id="{4E8839A4-EDB3-CD18-65F6-1247F05B03F7}"/>
              </a:ext>
            </a:extLst>
          </p:cNvPr>
          <p:cNvSpPr>
            <a:spLocks noGrp="1"/>
          </p:cNvSpPr>
          <p:nvPr>
            <p:ph type="dt" sz="half" idx="2"/>
          </p:nvPr>
        </p:nvSpPr>
        <p:spPr>
          <a:xfrm>
            <a:off x="720000" y="7267317"/>
            <a:ext cx="1451700" cy="151789"/>
          </a:xfrm>
          <a:prstGeom prst="rect">
            <a:avLst/>
          </a:prstGeom>
        </p:spPr>
        <p:txBody>
          <a:bodyPr vert="horz" lIns="0" tIns="0" rIns="0" bIns="0" rtlCol="0" anchor="ctr"/>
          <a:lstStyle>
            <a:lvl1pPr algn="l">
              <a:defRPr sz="1000">
                <a:solidFill>
                  <a:schemeClr val="tx2"/>
                </a:solidFill>
              </a:defRPr>
            </a:lvl1pPr>
          </a:lstStyle>
          <a:p>
            <a:fld id="{35A72ECF-8B84-41B2-B55D-F6FF3126552C}" type="datetime3">
              <a:rPr lang="en-GB" smtClean="0"/>
              <a:t>3 June, 2025</a:t>
            </a:fld>
            <a:endParaRPr lang="en-GB"/>
          </a:p>
        </p:txBody>
      </p:sp>
    </p:spTree>
    <p:extLst>
      <p:ext uri="{BB962C8B-B14F-4D97-AF65-F5344CB8AC3E}">
        <p14:creationId xmlns:p14="http://schemas.microsoft.com/office/powerpoint/2010/main" val="2777131786"/>
      </p:ext>
    </p:extLst>
  </p:cSld>
  <p:clrMap bg1="lt1" tx1="dk1" bg2="lt2" tx2="dk2" accent1="accent1" accent2="accent2" accent3="accent3" accent4="accent4" accent5="accent5" accent6="accent6" hlink="hlink" folHlink="folHlink"/>
  <p:sldLayoutIdLst>
    <p:sldLayoutId id="2147483707" r:id="rId1"/>
    <p:sldLayoutId id="2147483675" r:id="rId2"/>
    <p:sldLayoutId id="2147483705" r:id="rId3"/>
    <p:sldLayoutId id="2147483658" r:id="rId4"/>
    <p:sldLayoutId id="2147483704" r:id="rId5"/>
    <p:sldLayoutId id="2147483703" r:id="rId6"/>
    <p:sldLayoutId id="2147483702" r:id="rId7"/>
    <p:sldLayoutId id="2147483659" r:id="rId8"/>
    <p:sldLayoutId id="2147483686" r:id="rId9"/>
    <p:sldLayoutId id="2147483661" r:id="rId10"/>
    <p:sldLayoutId id="2147483687" r:id="rId11"/>
    <p:sldLayoutId id="2147483664" r:id="rId12"/>
    <p:sldLayoutId id="2147483665" r:id="rId13"/>
    <p:sldLayoutId id="2147483666" r:id="rId14"/>
    <p:sldLayoutId id="2147483667" r:id="rId15"/>
    <p:sldLayoutId id="2147483669" r:id="rId16"/>
    <p:sldLayoutId id="2147483672" r:id="rId17"/>
    <p:sldLayoutId id="2147483706" r:id="rId18"/>
    <p:sldLayoutId id="2147483714" r:id="rId19"/>
    <p:sldLayoutId id="2147483717" r:id="rId20"/>
    <p:sldLayoutId id="2147483719" r:id="rId21"/>
    <p:sldLayoutId id="2147483720" r:id="rId22"/>
    <p:sldLayoutId id="2147483732" r:id="rId23"/>
    <p:sldLayoutId id="2147483760" r:id="rId24"/>
    <p:sldLayoutId id="2147483761" r:id="rId25"/>
    <p:sldLayoutId id="2147483762" r:id="rId26"/>
  </p:sldLayoutIdLst>
  <p:hf sldNum="0" hdr="0"/>
  <p:txStyles>
    <p:titleStyle>
      <a:lvl1pPr algn="l" defTabSz="914400" rtl="0" eaLnBrk="1" latinLnBrk="0" hangingPunct="1">
        <a:lnSpc>
          <a:spcPct val="90000"/>
        </a:lnSpc>
        <a:spcBef>
          <a:spcPct val="0"/>
        </a:spcBef>
        <a:buNone/>
        <a:defRPr sz="3400" b="1" kern="1200">
          <a:solidFill>
            <a:schemeClr val="tx1"/>
          </a:solidFill>
          <a:latin typeface="+mj-lt"/>
          <a:ea typeface="+mj-ea"/>
          <a:cs typeface="+mj-cs"/>
        </a:defRPr>
      </a:lvl1pPr>
    </p:titleStyle>
    <p:bodyStyle>
      <a:lvl1pPr marL="2857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defRPr sz="1800" kern="1200">
          <a:solidFill>
            <a:schemeClr val="tx1"/>
          </a:solidFill>
          <a:latin typeface="+mn-lt"/>
          <a:ea typeface="+mn-ea"/>
          <a:cs typeface="+mn-cs"/>
        </a:defRPr>
      </a:lvl1pPr>
      <a:lvl2pPr marL="444500" indent="-266700" algn="l" defTabSz="914400" rtl="0" eaLnBrk="1" latinLnBrk="0" hangingPunct="1">
        <a:lnSpc>
          <a:spcPct val="90000"/>
        </a:lnSpc>
        <a:spcBef>
          <a:spcPts val="600"/>
        </a:spcBef>
        <a:spcAft>
          <a:spcPts val="600"/>
        </a:spcAft>
        <a:buClr>
          <a:schemeClr val="tx2"/>
        </a:buClr>
        <a:buFont typeface="Arial" panose="020B0604020202020204" pitchFamily="34" charset="0"/>
        <a:buChar char="•"/>
        <a:tabLst/>
        <a:defRPr sz="1600" kern="1200">
          <a:solidFill>
            <a:schemeClr val="tx1"/>
          </a:solidFill>
          <a:latin typeface="+mn-lt"/>
          <a:ea typeface="+mn-ea"/>
          <a:cs typeface="+mn-cs"/>
        </a:defRPr>
      </a:lvl2pPr>
      <a:lvl3pPr marL="622300" indent="-266700"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600" b="0" kern="1200">
          <a:solidFill>
            <a:schemeClr val="tx1"/>
          </a:solidFill>
          <a:latin typeface="+mj-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1600" b="0" kern="1200">
          <a:solidFill>
            <a:schemeClr val="tx1"/>
          </a:solidFill>
          <a:latin typeface="+mj-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1"/>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4"/>
          </a:solidFill>
          <a:latin typeface="+mj-lt"/>
          <a:ea typeface="+mn-ea"/>
          <a:cs typeface="+mn-cs"/>
        </a:defRPr>
      </a:lvl6pPr>
      <a:lvl7pPr marL="342900" indent="-342900" algn="l" defTabSz="914400" rtl="0" eaLnBrk="1" latinLnBrk="0" hangingPunct="1">
        <a:lnSpc>
          <a:spcPct val="90000"/>
        </a:lnSpc>
        <a:spcBef>
          <a:spcPts val="600"/>
        </a:spcBef>
        <a:spcAft>
          <a:spcPts val="600"/>
        </a:spcAft>
        <a:buClr>
          <a:schemeClr val="accent1"/>
        </a:buClr>
        <a:buFont typeface="+mj-lt"/>
        <a:buAutoNum type="arabicPeriod"/>
        <a:tabLst/>
        <a:defRPr sz="1800" b="0" kern="1200">
          <a:solidFill>
            <a:schemeClr val="tx1"/>
          </a:solidFill>
          <a:latin typeface="+mn-lt"/>
          <a:ea typeface="+mn-ea"/>
          <a:cs typeface="+mn-cs"/>
        </a:defRPr>
      </a:lvl7pPr>
      <a:lvl8pPr marL="342900" indent="-342900" algn="l" defTabSz="914400" rtl="0" eaLnBrk="1" latinLnBrk="0" hangingPunct="1">
        <a:lnSpc>
          <a:spcPct val="90000"/>
        </a:lnSpc>
        <a:spcBef>
          <a:spcPts val="600"/>
        </a:spcBef>
        <a:spcAft>
          <a:spcPts val="600"/>
        </a:spcAft>
        <a:buClr>
          <a:schemeClr val="accent1"/>
        </a:buClr>
        <a:buFont typeface="+mj-lt"/>
        <a:buAutoNum type="alphaLcPeriod"/>
        <a:defRPr sz="1800" b="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tx2"/>
        </a:buClr>
        <a:buFontTx/>
        <a:buNone/>
        <a:tabLst/>
        <a:defRPr sz="1200" i="1" kern="1200">
          <a:solidFill>
            <a:schemeClr val="accent3"/>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03" userDrawn="1">
          <p15:clr>
            <a:srgbClr val="F26B43"/>
          </p15:clr>
        </p15:guide>
        <p15:guide id="2" pos="450" userDrawn="1">
          <p15:clr>
            <a:srgbClr val="F26B43"/>
          </p15:clr>
        </p15:guide>
        <p15:guide id="3" orient="horz" pos="3657" userDrawn="1">
          <p15:clr>
            <a:srgbClr val="F26B43"/>
          </p15:clr>
        </p15:guide>
        <p15:guide id="4" orient="horz" pos="3997" userDrawn="1">
          <p15:clr>
            <a:srgbClr val="A4A3A4"/>
          </p15:clr>
        </p15:guide>
        <p15:guide id="5" orient="horz" pos="4092" userDrawn="1">
          <p15:clr>
            <a:srgbClr val="A4A3A4"/>
          </p15:clr>
        </p15:guide>
        <p15:guide id="6" pos="7219" userDrawn="1">
          <p15:clr>
            <a:srgbClr val="F26B43"/>
          </p15:clr>
        </p15:guide>
        <p15:guide id="7" orient="horz" pos="669" userDrawn="1">
          <p15:clr>
            <a:srgbClr val="A4A3A4"/>
          </p15:clr>
        </p15:guide>
        <p15:guide id="8" orient="horz" pos="455" userDrawn="1">
          <p15:clr>
            <a:srgbClr val="A4A3A4"/>
          </p15:clr>
        </p15:guide>
        <p15:guide id="9" orient="horz" pos="2160" userDrawn="1">
          <p15:clr>
            <a:srgbClr val="F26B43"/>
          </p15:clr>
        </p15:guide>
        <p15:guide id="10" orient="horz" pos="142" userDrawn="1">
          <p15:clr>
            <a:srgbClr val="5ACBF0"/>
          </p15:clr>
        </p15:guide>
        <p15:guide id="11" orient="horz" pos="4178" userDrawn="1">
          <p15:clr>
            <a:srgbClr val="5ACBF0"/>
          </p15:clr>
        </p15:guide>
        <p15:guide id="12" pos="3840" userDrawn="1">
          <p15:clr>
            <a:srgbClr val="F26B43"/>
          </p15:clr>
        </p15:guide>
        <p15:guide id="13" pos="121" userDrawn="1">
          <p15:clr>
            <a:srgbClr val="5ACBF0"/>
          </p15:clr>
        </p15:guide>
        <p15:guide id="14" pos="7559" userDrawn="1">
          <p15:clr>
            <a:srgbClr val="5ACBF0"/>
          </p15:clr>
        </p15:guide>
        <p15:guide id="15" orient="horz" userDrawn="1">
          <p15:clr>
            <a:srgbClr val="FDE53C"/>
          </p15:clr>
        </p15:guide>
        <p15:guide id="16" pos="7680" userDrawn="1">
          <p15:clr>
            <a:srgbClr val="FDE53C"/>
          </p15:clr>
        </p15:guide>
        <p15:guide id="17" userDrawn="1">
          <p15:clr>
            <a:srgbClr val="FDE53C"/>
          </p15:clr>
        </p15:guide>
        <p15:guide id="18" orient="horz" pos="4320" userDrawn="1">
          <p15:clr>
            <a:srgbClr val="FDE53C"/>
          </p15:clr>
        </p15:guide>
        <p15:guide id="19" pos="4021" userDrawn="1">
          <p15:clr>
            <a:srgbClr val="F26B43"/>
          </p15:clr>
        </p15:guide>
        <p15:guide id="20" pos="363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microsoft.com/office/2007/relationships/hdphoto" Target="../media/hdphoto2.wdp"/></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emf"/></Relationships>
</file>

<file path=ppt/slides/_rels/slide13.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image" Target="../media/image17.png"/><Relationship Id="rId1" Type="http://schemas.openxmlformats.org/officeDocument/2006/relationships/slideLayout" Target="../slideLayouts/slideLayout2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8.png"/><Relationship Id="rId1" Type="http://schemas.openxmlformats.org/officeDocument/2006/relationships/slideLayout" Target="../slideLayouts/slideLayout26.xml"/><Relationship Id="rId6" Type="http://schemas.openxmlformats.org/officeDocument/2006/relationships/image" Target="../media/image24.jpeg"/><Relationship Id="rId5" Type="http://schemas.openxmlformats.org/officeDocument/2006/relationships/image" Target="../media/image21.png"/><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8.png"/><Relationship Id="rId1" Type="http://schemas.openxmlformats.org/officeDocument/2006/relationships/slideLayout" Target="../slideLayouts/slideLayout26.xml"/><Relationship Id="rId6" Type="http://schemas.openxmlformats.org/officeDocument/2006/relationships/image" Target="../media/image24.jpeg"/><Relationship Id="rId5" Type="http://schemas.openxmlformats.org/officeDocument/2006/relationships/image" Target="../media/image21.png"/><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21.xml"/><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9.xml"/><Relationship Id="rId4" Type="http://schemas.openxmlformats.org/officeDocument/2006/relationships/image" Target="../media/image31.jpeg"/></Relationships>
</file>

<file path=ppt/slides/_rels/slide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8.xml"/><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2.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oleObject" Target="../embeddings/oleObject2.bin"/><Relationship Id="rId1" Type="http://schemas.openxmlformats.org/officeDocument/2006/relationships/slideLayout" Target="../slideLayouts/slideLayout25.xml"/><Relationship Id="rId4" Type="http://schemas.openxmlformats.org/officeDocument/2006/relationships/image" Target="../media/image11.jpeg"/></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Tijdelijke aanduiding voor afbeelding 12" descr="Afbeelding met kleding, schoeisel, mensen, person&#10;&#10;Automatisch gegenereerde beschrijving">
            <a:extLst>
              <a:ext uri="{FF2B5EF4-FFF2-40B4-BE49-F238E27FC236}">
                <a16:creationId xmlns:a16="http://schemas.microsoft.com/office/drawing/2014/main" id="{E9944294-7D40-5211-5AF3-21D66081268C}"/>
              </a:ext>
            </a:extLst>
          </p:cNvPr>
          <p:cNvPicPr>
            <a:picLocks noGrp="1" noChangeAspect="1"/>
          </p:cNvPicPr>
          <p:nvPr>
            <p:ph type="pic" sz="quarter" idx="13"/>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t="7096" b="7096"/>
          <a:stretch>
            <a:fillRect/>
          </a:stretch>
        </p:blipFill>
        <p:spPr/>
      </p:pic>
      <p:sp>
        <p:nvSpPr>
          <p:cNvPr id="7" name="Ondertitel 6">
            <a:extLst>
              <a:ext uri="{FF2B5EF4-FFF2-40B4-BE49-F238E27FC236}">
                <a16:creationId xmlns:a16="http://schemas.microsoft.com/office/drawing/2014/main" id="{0A071483-F0FE-66AC-EEF3-F98C2A7A4D2C}"/>
              </a:ext>
            </a:extLst>
          </p:cNvPr>
          <p:cNvSpPr>
            <a:spLocks noGrp="1"/>
          </p:cNvSpPr>
          <p:nvPr>
            <p:ph type="subTitle" idx="1"/>
          </p:nvPr>
        </p:nvSpPr>
        <p:spPr>
          <a:xfrm>
            <a:off x="718946" y="5710306"/>
            <a:ext cx="5136349" cy="395785"/>
          </a:xfrm>
        </p:spPr>
        <p:txBody>
          <a:bodyPr/>
          <a:lstStyle/>
          <a:p>
            <a:r>
              <a:rPr lang="en-GB">
                <a:solidFill>
                  <a:schemeClr val="bg1"/>
                </a:solidFill>
              </a:rPr>
              <a:t>Peter </a:t>
            </a:r>
            <a:r>
              <a:rPr lang="en-GB" err="1">
                <a:solidFill>
                  <a:schemeClr val="bg1"/>
                </a:solidFill>
              </a:rPr>
              <a:t>Havekes</a:t>
            </a:r>
            <a:r>
              <a:rPr lang="en-GB">
                <a:solidFill>
                  <a:schemeClr val="bg1"/>
                </a:solidFill>
              </a:rPr>
              <a:t> – Ben Parker</a:t>
            </a:r>
            <a:endParaRPr lang="nl-NL">
              <a:solidFill>
                <a:schemeClr val="bg1"/>
              </a:solidFill>
            </a:endParaRPr>
          </a:p>
        </p:txBody>
      </p:sp>
      <p:sp>
        <p:nvSpPr>
          <p:cNvPr id="19" name="Tijdelijke aanduiding voor tekst 18">
            <a:extLst>
              <a:ext uri="{FF2B5EF4-FFF2-40B4-BE49-F238E27FC236}">
                <a16:creationId xmlns:a16="http://schemas.microsoft.com/office/drawing/2014/main" id="{D2E36678-263F-D715-D2F3-D51288BFF285}"/>
              </a:ext>
            </a:extLst>
          </p:cNvPr>
          <p:cNvSpPr>
            <a:spLocks noGrp="1"/>
          </p:cNvSpPr>
          <p:nvPr>
            <p:ph type="body" sz="quarter" idx="18"/>
          </p:nvPr>
        </p:nvSpPr>
        <p:spPr>
          <a:xfrm>
            <a:off x="718947" y="722313"/>
            <a:ext cx="1594247" cy="812512"/>
          </a:xfrm>
        </p:spPr>
        <p:txBody>
          <a:bodyPr/>
          <a:lstStyle/>
          <a:p>
            <a:r>
              <a:rPr lang="en-GB"/>
              <a:t>   </a:t>
            </a:r>
          </a:p>
        </p:txBody>
      </p:sp>
      <p:sp>
        <p:nvSpPr>
          <p:cNvPr id="8" name="Tijdelijke aanduiding voor datum 7">
            <a:extLst>
              <a:ext uri="{FF2B5EF4-FFF2-40B4-BE49-F238E27FC236}">
                <a16:creationId xmlns:a16="http://schemas.microsoft.com/office/drawing/2014/main" id="{9DD63F08-65AB-4ED5-5176-CB0356F3EDF1}"/>
              </a:ext>
            </a:extLst>
          </p:cNvPr>
          <p:cNvSpPr>
            <a:spLocks noGrp="1"/>
          </p:cNvSpPr>
          <p:nvPr>
            <p:ph type="dt" sz="half" idx="2"/>
          </p:nvPr>
        </p:nvSpPr>
        <p:spPr>
          <a:xfrm>
            <a:off x="718946" y="6195358"/>
            <a:ext cx="2933400" cy="151790"/>
          </a:xfrm>
        </p:spPr>
        <p:txBody>
          <a:bodyPr/>
          <a:lstStyle/>
          <a:p>
            <a:fld id="{C41EC5F6-2C46-4C8A-9E5F-9D594114A047}" type="datetime3">
              <a:rPr lang="en-GB" smtClean="0">
                <a:solidFill>
                  <a:schemeClr val="bg1"/>
                </a:solidFill>
              </a:rPr>
              <a:pPr/>
              <a:t>3 June, 2025</a:t>
            </a:fld>
            <a:endParaRPr lang="en-GB">
              <a:solidFill>
                <a:schemeClr val="bg1"/>
              </a:solidFill>
            </a:endParaRPr>
          </a:p>
        </p:txBody>
      </p:sp>
      <p:sp>
        <p:nvSpPr>
          <p:cNvPr id="6" name="Titel 5">
            <a:extLst>
              <a:ext uri="{FF2B5EF4-FFF2-40B4-BE49-F238E27FC236}">
                <a16:creationId xmlns:a16="http://schemas.microsoft.com/office/drawing/2014/main" id="{A760C625-851A-60E4-9340-4E7A2BCE4189}"/>
              </a:ext>
            </a:extLst>
          </p:cNvPr>
          <p:cNvSpPr>
            <a:spLocks noGrp="1"/>
          </p:cNvSpPr>
          <p:nvPr>
            <p:ph type="title"/>
          </p:nvPr>
        </p:nvSpPr>
        <p:spPr>
          <a:xfrm>
            <a:off x="0" y="-367937"/>
            <a:ext cx="2086708" cy="342211"/>
          </a:xfrm>
        </p:spPr>
        <p:txBody>
          <a:bodyPr/>
          <a:lstStyle/>
          <a:p>
            <a:r>
              <a:rPr lang="en-GB"/>
              <a:t>Title slide</a:t>
            </a:r>
          </a:p>
        </p:txBody>
      </p:sp>
      <p:sp>
        <p:nvSpPr>
          <p:cNvPr id="10" name="Tijdelijke aanduiding voor tekst 9">
            <a:extLst>
              <a:ext uri="{FF2B5EF4-FFF2-40B4-BE49-F238E27FC236}">
                <a16:creationId xmlns:a16="http://schemas.microsoft.com/office/drawing/2014/main" id="{029CAE5D-D444-2CDD-4F79-D70F1D433716}"/>
              </a:ext>
            </a:extLst>
          </p:cNvPr>
          <p:cNvSpPr>
            <a:spLocks noGrp="1"/>
          </p:cNvSpPr>
          <p:nvPr>
            <p:ph type="body" sz="quarter" idx="19"/>
          </p:nvPr>
        </p:nvSpPr>
        <p:spPr>
          <a:xfrm>
            <a:off x="721632" y="3438798"/>
            <a:ext cx="5133663" cy="2117352"/>
          </a:xfrm>
        </p:spPr>
        <p:txBody>
          <a:bodyPr/>
          <a:lstStyle/>
          <a:p>
            <a:r>
              <a:rPr lang="en-GB" b="0">
                <a:solidFill>
                  <a:schemeClr val="bg1"/>
                </a:solidFill>
                <a:ea typeface="+mj-lt"/>
                <a:cs typeface="+mj-lt"/>
              </a:rPr>
              <a:t>Automating International Guest Student </a:t>
            </a:r>
            <a:r>
              <a:rPr lang="en-GB" b="0" err="1">
                <a:solidFill>
                  <a:schemeClr val="bg1"/>
                </a:solidFill>
                <a:ea typeface="+mj-lt"/>
                <a:cs typeface="+mj-lt"/>
              </a:rPr>
              <a:t>Enrollment</a:t>
            </a:r>
            <a:endParaRPr lang="nl-NL" err="1">
              <a:solidFill>
                <a:schemeClr val="bg1"/>
              </a:solidFill>
            </a:endParaRPr>
          </a:p>
        </p:txBody>
      </p:sp>
      <p:sp>
        <p:nvSpPr>
          <p:cNvPr id="14" name="Tekstvak 13">
            <a:extLst>
              <a:ext uri="{FF2B5EF4-FFF2-40B4-BE49-F238E27FC236}">
                <a16:creationId xmlns:a16="http://schemas.microsoft.com/office/drawing/2014/main" id="{7BC90B17-EE40-C0C1-6509-B2028E74DB7E}"/>
              </a:ext>
            </a:extLst>
          </p:cNvPr>
          <p:cNvSpPr txBox="1"/>
          <p:nvPr/>
        </p:nvSpPr>
        <p:spPr>
          <a:xfrm>
            <a:off x="7233138" y="-1301262"/>
            <a:ext cx="0" cy="0"/>
          </a:xfrm>
          <a:prstGeom prst="rect">
            <a:avLst/>
          </a:prstGeom>
          <a:noFill/>
        </p:spPr>
        <p:txBody>
          <a:bodyPr wrap="none" lIns="0" tIns="0" rIns="0" bIns="0" rtlCol="0">
            <a:noAutofit/>
          </a:bodyPr>
          <a:lstStyle/>
          <a:p>
            <a:pPr algn="l">
              <a:lnSpc>
                <a:spcPct val="90000"/>
              </a:lnSpc>
              <a:spcBef>
                <a:spcPts val="600"/>
              </a:spcBef>
              <a:spcAft>
                <a:spcPts val="600"/>
              </a:spcAft>
            </a:pPr>
            <a:endParaRPr lang="nl-NL" sz="1600" err="1"/>
          </a:p>
        </p:txBody>
      </p:sp>
    </p:spTree>
    <p:extLst>
      <p:ext uri="{BB962C8B-B14F-4D97-AF65-F5344CB8AC3E}">
        <p14:creationId xmlns:p14="http://schemas.microsoft.com/office/powerpoint/2010/main" val="3024223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E2AC51-BE1D-AF44-6B5F-93875EC387F2}"/>
            </a:ext>
          </a:extLst>
        </p:cNvPr>
        <p:cNvGrpSpPr/>
        <p:nvPr/>
      </p:nvGrpSpPr>
      <p:grpSpPr>
        <a:xfrm>
          <a:off x="0" y="0"/>
          <a:ext cx="0" cy="0"/>
          <a:chOff x="0" y="0"/>
          <a:chExt cx="0" cy="0"/>
        </a:xfrm>
      </p:grpSpPr>
      <p:pic>
        <p:nvPicPr>
          <p:cNvPr id="8" name="Tijdelijke aanduiding voor afbeelding 17" descr="Afbeelding met tekst, schermopname, berg&#10;&#10;Door AI gegenereerde inhoud is mogelijk onjuist.">
            <a:extLst>
              <a:ext uri="{FF2B5EF4-FFF2-40B4-BE49-F238E27FC236}">
                <a16:creationId xmlns:a16="http://schemas.microsoft.com/office/drawing/2014/main" id="{5684FBF5-60AD-DB1E-9826-E2970463A536}"/>
              </a:ext>
            </a:extLst>
          </p:cNvPr>
          <p:cNvPicPr>
            <a:picLocks noGrp="1" noChangeAspect="1"/>
          </p:cNvPicPr>
          <p:nvPr>
            <p:ph type="pic" sz="quarter" idx="19"/>
          </p:nvPr>
        </p:nvPicPr>
        <p:blipFill rotWithShape="1">
          <a:blip r:embed="rId2"/>
          <a:srcRect l="-365" t="-65" r="-274" b="389"/>
          <a:stretch>
            <a:fillRect/>
          </a:stretch>
        </p:blipFill>
        <p:spPr>
          <a:xfrm>
            <a:off x="7223195" y="102665"/>
            <a:ext cx="4616976" cy="6431978"/>
          </a:xfrm>
        </p:spPr>
      </p:pic>
      <p:sp>
        <p:nvSpPr>
          <p:cNvPr id="2" name="Tijdelijke aanduiding voor tekst 1">
            <a:extLst>
              <a:ext uri="{FF2B5EF4-FFF2-40B4-BE49-F238E27FC236}">
                <a16:creationId xmlns:a16="http://schemas.microsoft.com/office/drawing/2014/main" id="{77589175-0571-690F-9A1B-1A93FB2B132A}"/>
              </a:ext>
            </a:extLst>
          </p:cNvPr>
          <p:cNvSpPr>
            <a:spLocks noGrp="1"/>
          </p:cNvSpPr>
          <p:nvPr>
            <p:ph type="body" sz="quarter" idx="14"/>
          </p:nvPr>
        </p:nvSpPr>
        <p:spPr/>
        <p:txBody>
          <a:bodyPr/>
          <a:lstStyle/>
          <a:p>
            <a:r>
              <a:rPr lang="nl-NL"/>
              <a:t> </a:t>
            </a:r>
          </a:p>
        </p:txBody>
      </p:sp>
      <p:sp>
        <p:nvSpPr>
          <p:cNvPr id="3" name="Tijdelijke aanduiding voor tekst 2">
            <a:extLst>
              <a:ext uri="{FF2B5EF4-FFF2-40B4-BE49-F238E27FC236}">
                <a16:creationId xmlns:a16="http://schemas.microsoft.com/office/drawing/2014/main" id="{9F72B08E-E2EF-2E6E-4DB1-ED9BBCC2BD2E}"/>
              </a:ext>
            </a:extLst>
          </p:cNvPr>
          <p:cNvSpPr>
            <a:spLocks noGrp="1"/>
          </p:cNvSpPr>
          <p:nvPr>
            <p:ph type="body" sz="quarter" idx="18"/>
          </p:nvPr>
        </p:nvSpPr>
        <p:spPr/>
        <p:txBody>
          <a:bodyPr/>
          <a:lstStyle/>
          <a:p>
            <a:r>
              <a:rPr lang="nl-NL"/>
              <a:t> </a:t>
            </a:r>
          </a:p>
        </p:txBody>
      </p:sp>
      <p:sp>
        <p:nvSpPr>
          <p:cNvPr id="4" name="Titel 3">
            <a:extLst>
              <a:ext uri="{FF2B5EF4-FFF2-40B4-BE49-F238E27FC236}">
                <a16:creationId xmlns:a16="http://schemas.microsoft.com/office/drawing/2014/main" id="{952BF322-A90E-85BD-3EA3-468DB3568F71}"/>
              </a:ext>
            </a:extLst>
          </p:cNvPr>
          <p:cNvSpPr>
            <a:spLocks noGrp="1"/>
          </p:cNvSpPr>
          <p:nvPr>
            <p:ph type="title"/>
          </p:nvPr>
        </p:nvSpPr>
        <p:spPr/>
        <p:txBody>
          <a:bodyPr/>
          <a:lstStyle/>
          <a:p>
            <a:r>
              <a:rPr lang="en-GB"/>
              <a:t>What is </a:t>
            </a:r>
            <a:r>
              <a:rPr lang="en-GB" err="1"/>
              <a:t>eduXchange</a:t>
            </a:r>
            <a:endParaRPr lang="nl-NL" err="1"/>
          </a:p>
        </p:txBody>
      </p:sp>
      <p:sp>
        <p:nvSpPr>
          <p:cNvPr id="9" name="Tijdelijke aanduiding voor inhoud 8">
            <a:extLst>
              <a:ext uri="{FF2B5EF4-FFF2-40B4-BE49-F238E27FC236}">
                <a16:creationId xmlns:a16="http://schemas.microsoft.com/office/drawing/2014/main" id="{4675EBEB-4939-63FE-05ED-BECCDE6A55B6}"/>
              </a:ext>
            </a:extLst>
          </p:cNvPr>
          <p:cNvSpPr>
            <a:spLocks noGrp="1"/>
          </p:cNvSpPr>
          <p:nvPr>
            <p:ph idx="21"/>
          </p:nvPr>
        </p:nvSpPr>
        <p:spPr>
          <a:xfrm>
            <a:off x="720000" y="1474333"/>
            <a:ext cx="7488000" cy="4213945"/>
          </a:xfrm>
        </p:spPr>
        <p:txBody>
          <a:bodyPr vert="horz" lIns="0" tIns="0" rIns="0" bIns="0" rtlCol="0" anchor="t">
            <a:noAutofit/>
          </a:bodyPr>
          <a:lstStyle/>
          <a:p>
            <a:pPr marL="177800" indent="-177800">
              <a:buClr>
                <a:srgbClr val="EE7628"/>
              </a:buClr>
              <a:buFont typeface="Arial" panose="020B0604020202020204" pitchFamily="34" charset="0"/>
              <a:buChar char="•"/>
            </a:pPr>
            <a:r>
              <a:rPr lang="en-US" sz="2000" b="1">
                <a:latin typeface="Roboto"/>
                <a:ea typeface="Roboto"/>
                <a:cs typeface="Roboto"/>
              </a:rPr>
              <a:t>Catalog + Enrollment</a:t>
            </a:r>
            <a:endParaRPr lang="nl-NL"/>
          </a:p>
          <a:p>
            <a:pPr lvl="1" indent="-285750"/>
            <a:r>
              <a:rPr lang="en-US" sz="1800">
                <a:latin typeface="Roboto"/>
                <a:ea typeface="Roboto"/>
                <a:cs typeface="Roboto"/>
              </a:rPr>
              <a:t>Let students search, </a:t>
            </a:r>
            <a:r>
              <a:rPr lang="en-US">
                <a:latin typeface="Roboto"/>
                <a:ea typeface="Roboto"/>
                <a:cs typeface="Roboto"/>
              </a:rPr>
              <a:t>browse</a:t>
            </a:r>
            <a:r>
              <a:rPr lang="en-US" sz="1800">
                <a:latin typeface="Roboto"/>
                <a:ea typeface="Roboto"/>
                <a:cs typeface="Roboto"/>
              </a:rPr>
              <a:t> and select courses or minors</a:t>
            </a:r>
          </a:p>
          <a:p>
            <a:pPr marL="177800" indent="-177800">
              <a:buClr>
                <a:srgbClr val="EE7628"/>
              </a:buClr>
              <a:buFont typeface="Arial" panose="020B0604020202020204" pitchFamily="34" charset="0"/>
              <a:buChar char="•"/>
            </a:pPr>
            <a:r>
              <a:rPr lang="en-US" sz="2000" b="1">
                <a:latin typeface="Roboto"/>
                <a:ea typeface="Roboto"/>
                <a:cs typeface="Roboto"/>
              </a:rPr>
              <a:t>Designed for two Dutch University Alliances</a:t>
            </a:r>
          </a:p>
          <a:p>
            <a:pPr lvl="1">
              <a:buFont typeface="Arial,Sans-Serif" panose="020B0604020202020204" pitchFamily="34" charset="0"/>
              <a:buChar char="•"/>
            </a:pPr>
            <a:r>
              <a:rPr lang="en-US" sz="1800">
                <a:latin typeface="Roboto"/>
                <a:ea typeface="Roboto"/>
                <a:cs typeface="Roboto"/>
              </a:rPr>
              <a:t>6 universities</a:t>
            </a:r>
          </a:p>
          <a:p>
            <a:pPr marL="177800" indent="-177800">
              <a:buClr>
                <a:srgbClr val="EE7628"/>
              </a:buClr>
            </a:pPr>
            <a:r>
              <a:rPr lang="en-US" sz="2000" b="1">
                <a:latin typeface="Roboto"/>
                <a:ea typeface="Roboto"/>
                <a:cs typeface="Roboto"/>
              </a:rPr>
              <a:t>Copied to EU Aliance</a:t>
            </a:r>
          </a:p>
        </p:txBody>
      </p:sp>
    </p:spTree>
    <p:extLst>
      <p:ext uri="{BB962C8B-B14F-4D97-AF65-F5344CB8AC3E}">
        <p14:creationId xmlns:p14="http://schemas.microsoft.com/office/powerpoint/2010/main" val="1761256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D06106-4668-1F4A-690F-042EEEAAD25F}"/>
            </a:ext>
          </a:extLst>
        </p:cNvPr>
        <p:cNvGrpSpPr/>
        <p:nvPr/>
      </p:nvGrpSpPr>
      <p:grpSpPr>
        <a:xfrm>
          <a:off x="0" y="0"/>
          <a:ext cx="0" cy="0"/>
          <a:chOff x="0" y="0"/>
          <a:chExt cx="0" cy="0"/>
        </a:xfrm>
      </p:grpSpPr>
      <p:pic>
        <p:nvPicPr>
          <p:cNvPr id="8" name="Tijdelijke aanduiding voor afbeelding 17" descr="Free Images : light, architecture, wood, round, building, skyscraper ...">
            <a:extLst>
              <a:ext uri="{FF2B5EF4-FFF2-40B4-BE49-F238E27FC236}">
                <a16:creationId xmlns:a16="http://schemas.microsoft.com/office/drawing/2014/main" id="{81906E0A-A1E6-5664-EF70-A7B2B27B0FCF}"/>
              </a:ext>
            </a:extLst>
          </p:cNvPr>
          <p:cNvPicPr>
            <a:picLocks noGrp="1" noChangeAspect="1"/>
          </p:cNvPicPr>
          <p:nvPr>
            <p:ph type="pic" sz="quarter" idx="19"/>
          </p:nvPr>
        </p:nvPicPr>
        <p:blipFill rotWithShape="1">
          <a:blip r:embed="rId2"/>
          <a:srcRect l="31052" r="31052"/>
          <a:stretch/>
        </p:blipFill>
        <p:spPr>
          <a:xfrm>
            <a:off x="8562975" y="722313"/>
            <a:ext cx="2900363" cy="5083175"/>
          </a:xfrm>
        </p:spPr>
      </p:pic>
      <p:sp>
        <p:nvSpPr>
          <p:cNvPr id="2" name="Tijdelijke aanduiding voor tekst 1">
            <a:extLst>
              <a:ext uri="{FF2B5EF4-FFF2-40B4-BE49-F238E27FC236}">
                <a16:creationId xmlns:a16="http://schemas.microsoft.com/office/drawing/2014/main" id="{DA9A400D-6338-A59E-2BC5-AE11CE822EAE}"/>
              </a:ext>
            </a:extLst>
          </p:cNvPr>
          <p:cNvSpPr>
            <a:spLocks noGrp="1"/>
          </p:cNvSpPr>
          <p:nvPr>
            <p:ph type="body" sz="quarter" idx="14"/>
          </p:nvPr>
        </p:nvSpPr>
        <p:spPr/>
        <p:txBody>
          <a:bodyPr/>
          <a:lstStyle/>
          <a:p>
            <a:r>
              <a:rPr lang="nl-NL"/>
              <a:t> </a:t>
            </a:r>
          </a:p>
        </p:txBody>
      </p:sp>
      <p:sp>
        <p:nvSpPr>
          <p:cNvPr id="3" name="Tijdelijke aanduiding voor tekst 2">
            <a:extLst>
              <a:ext uri="{FF2B5EF4-FFF2-40B4-BE49-F238E27FC236}">
                <a16:creationId xmlns:a16="http://schemas.microsoft.com/office/drawing/2014/main" id="{011834F8-59FC-1B6F-80FB-5290E413E958}"/>
              </a:ext>
            </a:extLst>
          </p:cNvPr>
          <p:cNvSpPr>
            <a:spLocks noGrp="1"/>
          </p:cNvSpPr>
          <p:nvPr>
            <p:ph type="body" sz="quarter" idx="18"/>
          </p:nvPr>
        </p:nvSpPr>
        <p:spPr/>
        <p:txBody>
          <a:bodyPr/>
          <a:lstStyle/>
          <a:p>
            <a:r>
              <a:rPr lang="nl-NL"/>
              <a:t> </a:t>
            </a:r>
          </a:p>
        </p:txBody>
      </p:sp>
      <p:sp>
        <p:nvSpPr>
          <p:cNvPr id="4" name="Titel 3">
            <a:extLst>
              <a:ext uri="{FF2B5EF4-FFF2-40B4-BE49-F238E27FC236}">
                <a16:creationId xmlns:a16="http://schemas.microsoft.com/office/drawing/2014/main" id="{9968F7C7-9745-8461-1AB7-10E7E1420E8A}"/>
              </a:ext>
            </a:extLst>
          </p:cNvPr>
          <p:cNvSpPr>
            <a:spLocks noGrp="1"/>
          </p:cNvSpPr>
          <p:nvPr>
            <p:ph type="title"/>
          </p:nvPr>
        </p:nvSpPr>
        <p:spPr/>
        <p:txBody>
          <a:bodyPr/>
          <a:lstStyle/>
          <a:p>
            <a:r>
              <a:rPr lang="en-GB"/>
              <a:t>Designing </a:t>
            </a:r>
            <a:r>
              <a:rPr lang="en-GB" err="1"/>
              <a:t>eduXchange</a:t>
            </a:r>
            <a:endParaRPr lang="nl-NL" err="1"/>
          </a:p>
        </p:txBody>
      </p:sp>
      <p:sp>
        <p:nvSpPr>
          <p:cNvPr id="10" name="Tijdelijke aanduiding voor inhoud 8">
            <a:extLst>
              <a:ext uri="{FF2B5EF4-FFF2-40B4-BE49-F238E27FC236}">
                <a16:creationId xmlns:a16="http://schemas.microsoft.com/office/drawing/2014/main" id="{05F8C1F1-7B90-1E52-53BE-7D6ACD246A2C}"/>
              </a:ext>
            </a:extLst>
          </p:cNvPr>
          <p:cNvSpPr txBox="1">
            <a:spLocks/>
          </p:cNvSpPr>
          <p:nvPr/>
        </p:nvSpPr>
        <p:spPr>
          <a:xfrm>
            <a:off x="707440" y="1545509"/>
            <a:ext cx="7488000" cy="4213945"/>
          </a:xfrm>
          <a:prstGeom prst="rect">
            <a:avLst/>
          </a:prstGeom>
        </p:spPr>
        <p:txBody>
          <a:bodyPr vert="horz" lIns="0" tIns="0" rIns="0" bIns="0" rtlCol="0" anchor="t">
            <a:noAutofit/>
          </a:bodyPr>
          <a:lstStyle>
            <a:lvl1pPr marL="2857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defRPr sz="1800" kern="1200">
                <a:solidFill>
                  <a:schemeClr val="tx1"/>
                </a:solidFill>
                <a:latin typeface="+mn-lt"/>
                <a:ea typeface="+mn-ea"/>
                <a:cs typeface="+mn-cs"/>
              </a:defRPr>
            </a:lvl1pPr>
            <a:lvl2pPr marL="444500" indent="-266700" algn="l" defTabSz="914400" rtl="0" eaLnBrk="1" latinLnBrk="0" hangingPunct="1">
              <a:lnSpc>
                <a:spcPct val="90000"/>
              </a:lnSpc>
              <a:spcBef>
                <a:spcPts val="600"/>
              </a:spcBef>
              <a:spcAft>
                <a:spcPts val="600"/>
              </a:spcAft>
              <a:buClr>
                <a:schemeClr val="tx2"/>
              </a:buClr>
              <a:buFont typeface="Arial" panose="020B0604020202020204" pitchFamily="34" charset="0"/>
              <a:buChar char="•"/>
              <a:tabLst/>
              <a:defRPr sz="1600" kern="1200">
                <a:solidFill>
                  <a:schemeClr val="tx1"/>
                </a:solidFill>
                <a:latin typeface="+mn-lt"/>
                <a:ea typeface="+mn-ea"/>
                <a:cs typeface="+mn-cs"/>
              </a:defRPr>
            </a:lvl2pPr>
            <a:lvl3pPr marL="622300" indent="-266700"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600" b="0" kern="1200">
                <a:solidFill>
                  <a:schemeClr val="tx1"/>
                </a:solidFill>
                <a:latin typeface="+mj-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1600" b="0" kern="1200">
                <a:solidFill>
                  <a:schemeClr val="tx1"/>
                </a:solidFill>
                <a:latin typeface="+mj-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1"/>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4"/>
                </a:solidFill>
                <a:latin typeface="+mj-lt"/>
                <a:ea typeface="+mn-ea"/>
                <a:cs typeface="+mn-cs"/>
              </a:defRPr>
            </a:lvl6pPr>
            <a:lvl7pPr marL="342900" indent="-342900" algn="l" defTabSz="914400" rtl="0" eaLnBrk="1" latinLnBrk="0" hangingPunct="1">
              <a:lnSpc>
                <a:spcPct val="90000"/>
              </a:lnSpc>
              <a:spcBef>
                <a:spcPts val="600"/>
              </a:spcBef>
              <a:spcAft>
                <a:spcPts val="600"/>
              </a:spcAft>
              <a:buClr>
                <a:schemeClr val="accent1"/>
              </a:buClr>
              <a:buFont typeface="+mj-lt"/>
              <a:buAutoNum type="arabicPeriod"/>
              <a:tabLst/>
              <a:defRPr sz="1800" b="0" kern="1200">
                <a:solidFill>
                  <a:schemeClr val="tx1"/>
                </a:solidFill>
                <a:latin typeface="+mn-lt"/>
                <a:ea typeface="+mn-ea"/>
                <a:cs typeface="+mn-cs"/>
              </a:defRPr>
            </a:lvl7pPr>
            <a:lvl8pPr marL="342900" indent="-342900" algn="l" defTabSz="914400" rtl="0" eaLnBrk="1" latinLnBrk="0" hangingPunct="1">
              <a:lnSpc>
                <a:spcPct val="90000"/>
              </a:lnSpc>
              <a:spcBef>
                <a:spcPts val="600"/>
              </a:spcBef>
              <a:spcAft>
                <a:spcPts val="600"/>
              </a:spcAft>
              <a:buClr>
                <a:schemeClr val="accent1"/>
              </a:buClr>
              <a:buFont typeface="+mj-lt"/>
              <a:buAutoNum type="alphaLcPeriod"/>
              <a:defRPr sz="1800" b="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tx2"/>
              </a:buClr>
              <a:buFontTx/>
              <a:buNone/>
              <a:tabLst/>
              <a:defRPr sz="1200" i="1" kern="1200">
                <a:solidFill>
                  <a:schemeClr val="accent3"/>
                </a:solidFill>
                <a:latin typeface="+mn-lt"/>
                <a:ea typeface="+mn-ea"/>
                <a:cs typeface="+mn-cs"/>
              </a:defRPr>
            </a:lvl9pPr>
          </a:lstStyle>
          <a:p>
            <a:pPr marL="177800" indent="-177800">
              <a:buClr>
                <a:srgbClr val="EE7628"/>
              </a:buClr>
            </a:pPr>
            <a:r>
              <a:rPr lang="en-US" sz="2000" b="1">
                <a:latin typeface="Roboto"/>
                <a:ea typeface="Roboto"/>
                <a:cs typeface="Roboto"/>
              </a:rPr>
              <a:t>Privacy-by-design</a:t>
            </a:r>
            <a:endParaRPr lang="nl-NL">
              <a:latin typeface="Aptos"/>
              <a:ea typeface="Roboto"/>
              <a:cs typeface="Roboto"/>
            </a:endParaRPr>
          </a:p>
          <a:p>
            <a:pPr lvl="1"/>
            <a:r>
              <a:rPr lang="en-US" sz="1800">
                <a:latin typeface="Roboto"/>
                <a:ea typeface="Roboto"/>
                <a:cs typeface="Roboto"/>
              </a:rPr>
              <a:t>SURF processes as little data as possible Data</a:t>
            </a:r>
            <a:endParaRPr lang="nl-NL" sz="1800">
              <a:latin typeface="Aptos"/>
              <a:ea typeface="Roboto"/>
              <a:cs typeface="Roboto"/>
            </a:endParaRPr>
          </a:p>
          <a:p>
            <a:pPr lvl="1"/>
            <a:r>
              <a:rPr lang="en-US" sz="1800">
                <a:latin typeface="Roboto"/>
                <a:ea typeface="Roboto"/>
                <a:cs typeface="Roboto"/>
              </a:rPr>
              <a:t>exchange directly between institutions: no central database</a:t>
            </a:r>
            <a:endParaRPr lang="nl-NL" sz="1800">
              <a:latin typeface="Aptos"/>
              <a:ea typeface="Roboto"/>
              <a:cs typeface="Roboto"/>
            </a:endParaRPr>
          </a:p>
          <a:p>
            <a:pPr lvl="1"/>
            <a:r>
              <a:rPr lang="en-US" sz="1800">
                <a:latin typeface="Roboto"/>
                <a:ea typeface="Roboto"/>
                <a:cs typeface="Roboto"/>
              </a:rPr>
              <a:t>The student is in control </a:t>
            </a:r>
            <a:endParaRPr lang="nl-NL" sz="1800">
              <a:latin typeface="Aptos"/>
              <a:ea typeface="Roboto"/>
              <a:cs typeface="Roboto"/>
            </a:endParaRPr>
          </a:p>
          <a:p>
            <a:pPr marL="177800" indent="-177800">
              <a:buClr>
                <a:srgbClr val="EE7628"/>
              </a:buClr>
            </a:pPr>
            <a:r>
              <a:rPr lang="en-US" sz="2000" b="1">
                <a:latin typeface="Roboto"/>
                <a:ea typeface="Roboto"/>
                <a:cs typeface="Roboto"/>
              </a:rPr>
              <a:t>Automation</a:t>
            </a:r>
            <a:endParaRPr lang="nl-NL">
              <a:latin typeface="Aptos"/>
              <a:ea typeface="Roboto"/>
              <a:cs typeface="Roboto"/>
            </a:endParaRPr>
          </a:p>
          <a:p>
            <a:pPr lvl="1"/>
            <a:r>
              <a:rPr lang="en-US" sz="1800">
                <a:latin typeface="Roboto"/>
                <a:ea typeface="Roboto"/>
                <a:cs typeface="Roboto"/>
              </a:rPr>
              <a:t>No manual back-and-forth of documents, manual registration, etc. </a:t>
            </a:r>
            <a:endParaRPr lang="nl-NL" sz="1800">
              <a:latin typeface="Aptos"/>
              <a:ea typeface="Roboto"/>
              <a:cs typeface="Roboto"/>
            </a:endParaRPr>
          </a:p>
          <a:p>
            <a:pPr lvl="1"/>
            <a:r>
              <a:rPr lang="en-US" sz="1800">
                <a:latin typeface="Roboto"/>
                <a:ea typeface="Roboto"/>
                <a:cs typeface="Roboto"/>
              </a:rPr>
              <a:t>All processes must be </a:t>
            </a:r>
            <a:r>
              <a:rPr lang="en-US" sz="1800" err="1">
                <a:latin typeface="Roboto"/>
                <a:ea typeface="Roboto"/>
                <a:cs typeface="Roboto"/>
              </a:rPr>
              <a:t>digitalised</a:t>
            </a:r>
            <a:r>
              <a:rPr lang="en-US" sz="1800">
                <a:latin typeface="Roboto"/>
                <a:ea typeface="Roboto"/>
                <a:cs typeface="Roboto"/>
              </a:rPr>
              <a:t> and automated as much as possible </a:t>
            </a:r>
            <a:endParaRPr lang="nl-NL" sz="1800">
              <a:latin typeface="Aptos"/>
              <a:ea typeface="Roboto"/>
              <a:cs typeface="Roboto"/>
            </a:endParaRPr>
          </a:p>
          <a:p>
            <a:pPr marL="177800" indent="-177800">
              <a:buClr>
                <a:srgbClr val="EE7628"/>
              </a:buClr>
            </a:pPr>
            <a:r>
              <a:rPr lang="en-US" sz="2000" b="1">
                <a:latin typeface="Roboto"/>
                <a:ea typeface="Roboto"/>
                <a:cs typeface="Roboto"/>
              </a:rPr>
              <a:t>Generic Infrastructure</a:t>
            </a:r>
            <a:endParaRPr lang="nl-NL">
              <a:latin typeface="Aptos"/>
              <a:ea typeface="Roboto"/>
              <a:cs typeface="Roboto"/>
            </a:endParaRPr>
          </a:p>
          <a:p>
            <a:pPr lvl="1"/>
            <a:r>
              <a:rPr lang="en-US" sz="1800">
                <a:latin typeface="Roboto"/>
                <a:ea typeface="Roboto"/>
                <a:cs typeface="Roboto"/>
              </a:rPr>
              <a:t>Using open standards and open-source components</a:t>
            </a:r>
            <a:endParaRPr lang="nl-NL" sz="1800">
              <a:latin typeface="Aptos"/>
              <a:ea typeface="Roboto"/>
              <a:cs typeface="Roboto"/>
            </a:endParaRPr>
          </a:p>
          <a:p>
            <a:pPr lvl="1"/>
            <a:r>
              <a:rPr lang="en-US" sz="1800">
                <a:latin typeface="Roboto"/>
                <a:ea typeface="Roboto"/>
                <a:cs typeface="Roboto"/>
              </a:rPr>
              <a:t>Scalable to other settings, so generic design</a:t>
            </a:r>
          </a:p>
        </p:txBody>
      </p:sp>
    </p:spTree>
    <p:extLst>
      <p:ext uri="{BB962C8B-B14F-4D97-AF65-F5344CB8AC3E}">
        <p14:creationId xmlns:p14="http://schemas.microsoft.com/office/powerpoint/2010/main" val="2487255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E2366315-8F42-98B9-4653-85ABFBB36F4A}"/>
              </a:ext>
            </a:extLst>
          </p:cNvPr>
          <p:cNvSpPr>
            <a:spLocks noGrp="1"/>
          </p:cNvSpPr>
          <p:nvPr>
            <p:ph type="body" orient="vert" idx="1"/>
          </p:nvPr>
        </p:nvSpPr>
        <p:spPr/>
        <p:txBody>
          <a:bodyPr vert="horz" lIns="0" tIns="0" rIns="0" bIns="0" rtlCol="0" anchor="t">
            <a:noAutofit/>
          </a:bodyPr>
          <a:lstStyle/>
          <a:p>
            <a:pPr marL="285750" indent="-285750">
              <a:buClrTx/>
              <a:buFont typeface="Arial" panose="020B0604020202020204" pitchFamily="34" charset="0"/>
              <a:buChar char="•"/>
            </a:pPr>
            <a:r>
              <a:rPr lang="en-US" sz="1600" b="1">
                <a:solidFill>
                  <a:srgbClr val="000000"/>
                </a:solidFill>
                <a:latin typeface="Roboto"/>
                <a:ea typeface="Roboto"/>
                <a:cs typeface="Roboto"/>
              </a:rPr>
              <a:t>OEAPI</a:t>
            </a:r>
            <a:r>
              <a:rPr lang="en-US" sz="1600">
                <a:solidFill>
                  <a:srgbClr val="000000"/>
                </a:solidFill>
                <a:latin typeface="Roboto"/>
                <a:ea typeface="Roboto"/>
                <a:cs typeface="Roboto"/>
              </a:rPr>
              <a:t> (OOAPI in Dutch)</a:t>
            </a:r>
            <a:r>
              <a:rPr lang="en-US" sz="1600" b="1">
                <a:solidFill>
                  <a:srgbClr val="000000"/>
                </a:solidFill>
                <a:latin typeface="Roboto"/>
                <a:ea typeface="Roboto"/>
                <a:cs typeface="Roboto"/>
              </a:rPr>
              <a:t>, </a:t>
            </a:r>
            <a:r>
              <a:rPr lang="en-US" sz="1600">
                <a:solidFill>
                  <a:srgbClr val="000000"/>
                </a:solidFill>
                <a:latin typeface="Roboto"/>
                <a:ea typeface="Roboto"/>
                <a:cs typeface="Roboto"/>
              </a:rPr>
              <a:t>a standard for unlocking educational data: from educational offerings, to grades, to credits, from timetables to free workplaces</a:t>
            </a:r>
            <a:endParaRPr lang="nl-NL" sz="1600">
              <a:solidFill>
                <a:srgbClr val="000000"/>
              </a:solidFill>
              <a:latin typeface="Roboto"/>
              <a:ea typeface="Roboto"/>
              <a:cs typeface="Roboto"/>
            </a:endParaRPr>
          </a:p>
          <a:p>
            <a:pPr marL="285750" indent="-285750">
              <a:buClrTx/>
              <a:buFont typeface="Arial" panose="020B0604020202020204" pitchFamily="34" charset="0"/>
              <a:buChar char="•"/>
            </a:pPr>
            <a:r>
              <a:rPr lang="en-US" sz="1600" b="1" err="1">
                <a:solidFill>
                  <a:srgbClr val="000000"/>
                </a:solidFill>
                <a:latin typeface="Roboto"/>
                <a:ea typeface="Roboto"/>
                <a:cs typeface="Roboto"/>
              </a:rPr>
              <a:t>SURFeduhub</a:t>
            </a:r>
            <a:r>
              <a:rPr lang="en-US" sz="1600" b="1">
                <a:solidFill>
                  <a:srgbClr val="000000"/>
                </a:solidFill>
                <a:latin typeface="Roboto"/>
                <a:ea typeface="Roboto"/>
                <a:cs typeface="Roboto"/>
              </a:rPr>
              <a:t>, </a:t>
            </a:r>
            <a:r>
              <a:rPr lang="en-US" sz="1600">
                <a:solidFill>
                  <a:srgbClr val="000000"/>
                </a:solidFill>
                <a:latin typeface="Roboto"/>
                <a:ea typeface="Roboto"/>
                <a:cs typeface="Roboto"/>
              </a:rPr>
              <a:t>a central place where </a:t>
            </a:r>
            <a:r>
              <a:rPr lang="en-US" sz="1800">
                <a:solidFill>
                  <a:srgbClr val="000000"/>
                </a:solidFill>
                <a:latin typeface="Roboto"/>
                <a:ea typeface="Roboto"/>
                <a:cs typeface="Roboto"/>
              </a:rPr>
              <a:t>educational</a:t>
            </a:r>
            <a:r>
              <a:rPr lang="en-US" sz="1600">
                <a:solidFill>
                  <a:srgbClr val="000000"/>
                </a:solidFill>
                <a:latin typeface="Roboto"/>
                <a:ea typeface="Roboto"/>
                <a:cs typeface="Roboto"/>
              </a:rPr>
              <a:t> data from an institution can be offered to various data customers in a </a:t>
            </a:r>
            <a:r>
              <a:rPr lang="en-US" sz="1600" i="1">
                <a:solidFill>
                  <a:srgbClr val="000000"/>
                </a:solidFill>
                <a:latin typeface="Roboto"/>
                <a:ea typeface="Roboto"/>
                <a:cs typeface="Roboto"/>
              </a:rPr>
              <a:t>uniform</a:t>
            </a:r>
            <a:r>
              <a:rPr lang="en-US" sz="1600">
                <a:solidFill>
                  <a:srgbClr val="000000"/>
                </a:solidFill>
                <a:latin typeface="Roboto"/>
                <a:ea typeface="Roboto"/>
                <a:cs typeface="Roboto"/>
              </a:rPr>
              <a:t> and </a:t>
            </a:r>
            <a:r>
              <a:rPr lang="en-US" sz="1600" i="1">
                <a:solidFill>
                  <a:srgbClr val="000000"/>
                </a:solidFill>
                <a:latin typeface="Roboto"/>
                <a:ea typeface="Roboto"/>
                <a:cs typeface="Roboto"/>
              </a:rPr>
              <a:t>secure</a:t>
            </a:r>
            <a:r>
              <a:rPr lang="en-US" sz="1600">
                <a:solidFill>
                  <a:srgbClr val="000000"/>
                </a:solidFill>
                <a:latin typeface="Roboto"/>
                <a:ea typeface="Roboto"/>
                <a:cs typeface="Roboto"/>
              </a:rPr>
              <a:t> manner</a:t>
            </a:r>
            <a:endParaRPr lang="en-NL" sz="1600">
              <a:solidFill>
                <a:srgbClr val="000000"/>
              </a:solidFill>
              <a:latin typeface="Roboto"/>
              <a:ea typeface="Roboto"/>
              <a:cs typeface="Roboto"/>
            </a:endParaRPr>
          </a:p>
          <a:p>
            <a:pPr marL="285750" indent="-285750">
              <a:buClrTx/>
              <a:buFont typeface="Arial" panose="020B0604020202020204" pitchFamily="34" charset="0"/>
              <a:buChar char="•"/>
            </a:pPr>
            <a:r>
              <a:rPr lang="en-US" sz="1600" b="1" err="1">
                <a:solidFill>
                  <a:srgbClr val="000000"/>
                </a:solidFill>
                <a:latin typeface="Roboto"/>
                <a:ea typeface="Roboto"/>
                <a:cs typeface="Roboto"/>
              </a:rPr>
              <a:t>eduXchange</a:t>
            </a:r>
            <a:r>
              <a:rPr lang="en-US" sz="1600" b="1">
                <a:solidFill>
                  <a:srgbClr val="000000"/>
                </a:solidFill>
                <a:latin typeface="Roboto"/>
                <a:ea typeface="Roboto"/>
                <a:cs typeface="Roboto"/>
              </a:rPr>
              <a:t>, </a:t>
            </a:r>
            <a:r>
              <a:rPr lang="en-US" sz="1600">
                <a:solidFill>
                  <a:srgbClr val="000000"/>
                </a:solidFill>
                <a:latin typeface="Roboto"/>
                <a:ea typeface="Roboto"/>
                <a:cs typeface="Roboto"/>
              </a:rPr>
              <a:t>a front-end for showcasing educational offerings</a:t>
            </a:r>
            <a:endParaRPr lang="en-NL" sz="1600">
              <a:solidFill>
                <a:srgbClr val="000000"/>
              </a:solidFill>
              <a:latin typeface="Roboto"/>
              <a:ea typeface="Roboto"/>
              <a:cs typeface="Roboto"/>
            </a:endParaRPr>
          </a:p>
          <a:p>
            <a:pPr marL="285750" indent="-285750">
              <a:buClrTx/>
              <a:buFont typeface="Arial" panose="020B0604020202020204" pitchFamily="34" charset="0"/>
              <a:buChar char="•"/>
            </a:pPr>
            <a:r>
              <a:rPr lang="en-US" sz="1600" b="1" err="1">
                <a:solidFill>
                  <a:srgbClr val="000000"/>
                </a:solidFill>
                <a:latin typeface="Roboto"/>
                <a:ea typeface="Roboto"/>
                <a:cs typeface="Roboto"/>
              </a:rPr>
              <a:t>eduID</a:t>
            </a:r>
            <a:r>
              <a:rPr lang="en-US" sz="1600" b="1">
                <a:solidFill>
                  <a:srgbClr val="000000"/>
                </a:solidFill>
                <a:latin typeface="Roboto"/>
                <a:ea typeface="Roboto"/>
                <a:cs typeface="Roboto"/>
              </a:rPr>
              <a:t>, </a:t>
            </a:r>
            <a:r>
              <a:rPr lang="en-US" sz="1600">
                <a:solidFill>
                  <a:srgbClr val="000000"/>
                </a:solidFill>
                <a:latin typeface="Roboto"/>
                <a:ea typeface="Roboto"/>
                <a:cs typeface="Roboto"/>
              </a:rPr>
              <a:t>an overarching digital student identity, independent of an institution</a:t>
            </a:r>
            <a:endParaRPr lang="en-NL" sz="1600">
              <a:solidFill>
                <a:srgbClr val="000000"/>
              </a:solidFill>
              <a:latin typeface="Roboto"/>
              <a:ea typeface="Roboto"/>
              <a:cs typeface="Roboto"/>
            </a:endParaRPr>
          </a:p>
          <a:p>
            <a:pPr marL="285750" indent="-285750">
              <a:buClrTx/>
              <a:buFont typeface="Arial" panose="020B0604020202020204" pitchFamily="34" charset="0"/>
              <a:buChar char="•"/>
            </a:pPr>
            <a:r>
              <a:rPr lang="en-US" sz="1600" b="1">
                <a:solidFill>
                  <a:srgbClr val="000000"/>
                </a:solidFill>
                <a:latin typeface="Roboto"/>
                <a:ea typeface="Roboto"/>
                <a:cs typeface="Roboto"/>
              </a:rPr>
              <a:t>Subscription and result broker, </a:t>
            </a:r>
            <a:r>
              <a:rPr lang="en-US" sz="1600">
                <a:solidFill>
                  <a:srgbClr val="000000"/>
                </a:solidFill>
                <a:latin typeface="Roboto"/>
                <a:ea typeface="Roboto"/>
                <a:cs typeface="Roboto"/>
              </a:rPr>
              <a:t>for orchestration of student data between institutions</a:t>
            </a:r>
          </a:p>
          <a:p>
            <a:pPr marL="285750" indent="-285750">
              <a:buClrTx/>
              <a:buFont typeface="Arial" panose="020B0604020202020204" pitchFamily="34" charset="0"/>
              <a:buChar char="•"/>
            </a:pPr>
            <a:r>
              <a:rPr lang="en-US" sz="1600" b="1" err="1">
                <a:latin typeface="Roboto"/>
                <a:ea typeface="Roboto"/>
                <a:cs typeface="Roboto"/>
              </a:rPr>
              <a:t>SURFconext</a:t>
            </a:r>
            <a:r>
              <a:rPr lang="en-US" sz="1600" b="1">
                <a:latin typeface="Roboto"/>
                <a:ea typeface="Roboto"/>
                <a:cs typeface="Roboto"/>
              </a:rPr>
              <a:t> </a:t>
            </a:r>
            <a:r>
              <a:rPr lang="en-US" sz="1600">
                <a:latin typeface="Roboto"/>
                <a:ea typeface="Roboto"/>
                <a:cs typeface="Roboto"/>
              </a:rPr>
              <a:t>API security, for protecting communication between guest and host institutions</a:t>
            </a:r>
          </a:p>
        </p:txBody>
      </p:sp>
      <p:sp>
        <p:nvSpPr>
          <p:cNvPr id="3" name="Tijdelijke aanduiding voor tekst 2">
            <a:extLst>
              <a:ext uri="{FF2B5EF4-FFF2-40B4-BE49-F238E27FC236}">
                <a16:creationId xmlns:a16="http://schemas.microsoft.com/office/drawing/2014/main" id="{4189216B-B5E9-95DF-EFA5-47B79CD4DA0C}"/>
              </a:ext>
            </a:extLst>
          </p:cNvPr>
          <p:cNvSpPr>
            <a:spLocks noGrp="1"/>
          </p:cNvSpPr>
          <p:nvPr>
            <p:ph type="body" sz="quarter" idx="14"/>
          </p:nvPr>
        </p:nvSpPr>
        <p:spPr/>
        <p:txBody>
          <a:bodyPr/>
          <a:lstStyle/>
          <a:p>
            <a:endParaRPr lang="en-NL"/>
          </a:p>
        </p:txBody>
      </p:sp>
      <p:sp>
        <p:nvSpPr>
          <p:cNvPr id="4" name="Tijdelijke aanduiding voor tekst 3">
            <a:extLst>
              <a:ext uri="{FF2B5EF4-FFF2-40B4-BE49-F238E27FC236}">
                <a16:creationId xmlns:a16="http://schemas.microsoft.com/office/drawing/2014/main" id="{FB67BE0F-1BAE-1105-FBA6-8E73F9140B04}"/>
              </a:ext>
            </a:extLst>
          </p:cNvPr>
          <p:cNvSpPr>
            <a:spLocks noGrp="1"/>
          </p:cNvSpPr>
          <p:nvPr>
            <p:ph type="body" sz="quarter" idx="18"/>
          </p:nvPr>
        </p:nvSpPr>
        <p:spPr/>
        <p:txBody>
          <a:bodyPr/>
          <a:lstStyle/>
          <a:p>
            <a:endParaRPr lang="en-NL"/>
          </a:p>
        </p:txBody>
      </p:sp>
      <p:sp>
        <p:nvSpPr>
          <p:cNvPr id="5" name="Titel 4">
            <a:extLst>
              <a:ext uri="{FF2B5EF4-FFF2-40B4-BE49-F238E27FC236}">
                <a16:creationId xmlns:a16="http://schemas.microsoft.com/office/drawing/2014/main" id="{CF74D6F2-0FCD-315C-2F42-C47C67B398FE}"/>
              </a:ext>
            </a:extLst>
          </p:cNvPr>
          <p:cNvSpPr>
            <a:spLocks noGrp="1"/>
          </p:cNvSpPr>
          <p:nvPr>
            <p:ph type="title"/>
          </p:nvPr>
        </p:nvSpPr>
        <p:spPr/>
        <p:txBody>
          <a:bodyPr/>
          <a:lstStyle/>
          <a:p>
            <a:r>
              <a:rPr lang="en-US">
                <a:latin typeface="Roboto"/>
                <a:ea typeface="Roboto"/>
                <a:cs typeface="Roboto"/>
              </a:rPr>
              <a:t>eduXchange.nl components</a:t>
            </a:r>
            <a:endParaRPr lang="en-NL">
              <a:latin typeface="Roboto" panose="02000000000000000000" pitchFamily="2" charset="0"/>
              <a:ea typeface="Roboto" panose="02000000000000000000" pitchFamily="2" charset="0"/>
              <a:cs typeface="Roboto" panose="02000000000000000000" pitchFamily="2" charset="0"/>
            </a:endParaRPr>
          </a:p>
        </p:txBody>
      </p:sp>
      <p:pic>
        <p:nvPicPr>
          <p:cNvPr id="7" name="Afbeelding 6" descr="eduID Account Linking - SURFconext IdP Dashboard">
            <a:extLst>
              <a:ext uri="{FF2B5EF4-FFF2-40B4-BE49-F238E27FC236}">
                <a16:creationId xmlns:a16="http://schemas.microsoft.com/office/drawing/2014/main" id="{89BBEEC4-E971-AC63-FD72-E17CD7B9FD88}"/>
              </a:ext>
            </a:extLst>
          </p:cNvPr>
          <p:cNvPicPr>
            <a:picLocks noChangeAspect="1"/>
          </p:cNvPicPr>
          <p:nvPr/>
        </p:nvPicPr>
        <p:blipFill>
          <a:blip r:embed="rId2"/>
          <a:stretch>
            <a:fillRect/>
          </a:stretch>
        </p:blipFill>
        <p:spPr>
          <a:xfrm>
            <a:off x="9875521" y="3269743"/>
            <a:ext cx="1596480" cy="1277184"/>
          </a:xfrm>
          <a:prstGeom prst="rect">
            <a:avLst/>
          </a:prstGeom>
          <a:effectLst>
            <a:outerShdw blurRad="50800" dist="38100" dir="2700000">
              <a:srgbClr val="000000">
                <a:alpha val="40000"/>
              </a:srgbClr>
            </a:outerShdw>
          </a:effectLst>
        </p:spPr>
      </p:pic>
      <p:pic>
        <p:nvPicPr>
          <p:cNvPr id="14" name="Afbeelding 13" descr="Afbeelding met Lettertype, schermopname, Graphics, zwart&#10;&#10;Automatisch gegenereerde beschrijving">
            <a:extLst>
              <a:ext uri="{FF2B5EF4-FFF2-40B4-BE49-F238E27FC236}">
                <a16:creationId xmlns:a16="http://schemas.microsoft.com/office/drawing/2014/main" id="{89BBBD9A-CF12-BF47-0E71-6D57F99D9C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48361" y="2327918"/>
            <a:ext cx="2685565" cy="1101082"/>
          </a:xfrm>
          <a:prstGeom prst="rect">
            <a:avLst/>
          </a:prstGeom>
          <a:effectLst>
            <a:outerShdw blurRad="50800" dist="38100" dir="2700000">
              <a:srgbClr val="000000">
                <a:alpha val="40000"/>
              </a:srgbClr>
            </a:outerShdw>
          </a:effectLst>
        </p:spPr>
      </p:pic>
      <p:pic>
        <p:nvPicPr>
          <p:cNvPr id="18" name="Afbeelding 17">
            <a:extLst>
              <a:ext uri="{FF2B5EF4-FFF2-40B4-BE49-F238E27FC236}">
                <a16:creationId xmlns:a16="http://schemas.microsoft.com/office/drawing/2014/main" id="{557AE417-E2E5-675D-A806-9C112410FEB2}"/>
              </a:ext>
            </a:extLst>
          </p:cNvPr>
          <p:cNvPicPr>
            <a:picLocks noChangeAspect="1"/>
          </p:cNvPicPr>
          <p:nvPr/>
        </p:nvPicPr>
        <p:blipFill>
          <a:blip r:embed="rId4"/>
          <a:stretch>
            <a:fillRect/>
          </a:stretch>
        </p:blipFill>
        <p:spPr>
          <a:xfrm>
            <a:off x="9628088" y="520682"/>
            <a:ext cx="2005838" cy="524475"/>
          </a:xfrm>
          <a:prstGeom prst="rect">
            <a:avLst/>
          </a:prstGeom>
          <a:effectLst>
            <a:outerShdw blurRad="50800" dist="38100" dir="2700000">
              <a:srgbClr val="000000">
                <a:alpha val="40000"/>
              </a:srgbClr>
            </a:outerShdw>
          </a:effectLst>
        </p:spPr>
      </p:pic>
      <p:pic>
        <p:nvPicPr>
          <p:cNvPr id="6" name="Afbeelding 5" descr="Stageplein - Inloggen">
            <a:extLst>
              <a:ext uri="{FF2B5EF4-FFF2-40B4-BE49-F238E27FC236}">
                <a16:creationId xmlns:a16="http://schemas.microsoft.com/office/drawing/2014/main" id="{601D3C98-5132-C4F1-3735-98740B8F272F}"/>
              </a:ext>
            </a:extLst>
          </p:cNvPr>
          <p:cNvPicPr>
            <a:picLocks noChangeAspect="1"/>
          </p:cNvPicPr>
          <p:nvPr/>
        </p:nvPicPr>
        <p:blipFill>
          <a:blip r:embed="rId5"/>
          <a:stretch>
            <a:fillRect/>
          </a:stretch>
        </p:blipFill>
        <p:spPr>
          <a:xfrm>
            <a:off x="9048997" y="4898532"/>
            <a:ext cx="2416629" cy="742287"/>
          </a:xfrm>
          <a:prstGeom prst="rect">
            <a:avLst/>
          </a:prstGeom>
        </p:spPr>
      </p:pic>
      <p:pic>
        <p:nvPicPr>
          <p:cNvPr id="8" name="Afbeelding 7" descr="Afbeelding met Lettertype, Graphics, grafische vormgeving, tekst&#10;&#10;Door AI gegenereerde inhoud is mogelijk onjuist.">
            <a:extLst>
              <a:ext uri="{FF2B5EF4-FFF2-40B4-BE49-F238E27FC236}">
                <a16:creationId xmlns:a16="http://schemas.microsoft.com/office/drawing/2014/main" id="{13836C5E-750F-DE0E-A78A-FAA0732535A6}"/>
              </a:ext>
            </a:extLst>
          </p:cNvPr>
          <p:cNvPicPr>
            <a:picLocks noChangeAspect="1"/>
          </p:cNvPicPr>
          <p:nvPr/>
        </p:nvPicPr>
        <p:blipFill>
          <a:blip r:embed="rId6"/>
          <a:stretch>
            <a:fillRect/>
          </a:stretch>
        </p:blipFill>
        <p:spPr>
          <a:xfrm>
            <a:off x="9407935" y="1231439"/>
            <a:ext cx="2061292" cy="1093122"/>
          </a:xfrm>
          <a:prstGeom prst="rect">
            <a:avLst/>
          </a:prstGeom>
        </p:spPr>
      </p:pic>
    </p:spTree>
    <p:extLst>
      <p:ext uri="{BB962C8B-B14F-4D97-AF65-F5344CB8AC3E}">
        <p14:creationId xmlns:p14="http://schemas.microsoft.com/office/powerpoint/2010/main" val="2357765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A6C1A8-B01A-93A5-C45D-13C8E9413CFB}"/>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88FC3513-7B7F-3172-CAE2-7FE5D4B7B305}"/>
              </a:ext>
            </a:extLst>
          </p:cNvPr>
          <p:cNvSpPr>
            <a:spLocks noGrp="1"/>
          </p:cNvSpPr>
          <p:nvPr>
            <p:ph type="body" orient="vert" idx="1"/>
          </p:nvPr>
        </p:nvSpPr>
        <p:spPr/>
        <p:txBody>
          <a:bodyPr vert="horz" lIns="0" tIns="0" rIns="0" bIns="0" rtlCol="0" anchor="t">
            <a:noAutofit/>
          </a:bodyPr>
          <a:lstStyle/>
          <a:p>
            <a:pPr marL="285750" indent="-285750">
              <a:buClrTx/>
              <a:buFont typeface="Arial" panose="020B0604020202020204" pitchFamily="34" charset="0"/>
              <a:buChar char="•"/>
            </a:pPr>
            <a:r>
              <a:rPr lang="en-US" sz="1800" b="1">
                <a:solidFill>
                  <a:srgbClr val="000000"/>
                </a:solidFill>
                <a:latin typeface="Roboto"/>
                <a:ea typeface="Roboto"/>
                <a:cs typeface="Roboto"/>
              </a:rPr>
              <a:t>OEAPI, </a:t>
            </a:r>
            <a:r>
              <a:rPr lang="en-US" sz="1800">
                <a:solidFill>
                  <a:srgbClr val="000000"/>
                </a:solidFill>
                <a:latin typeface="Roboto"/>
                <a:ea typeface="Roboto"/>
                <a:cs typeface="Roboto"/>
              </a:rPr>
              <a:t>a standard for unlocking educational data: from educational offerings, to grades, to credits, from timetables to free workplaces</a:t>
            </a:r>
            <a:endParaRPr lang="nl-NL" sz="1800">
              <a:solidFill>
                <a:srgbClr val="000000"/>
              </a:solidFill>
              <a:latin typeface="Roboto"/>
              <a:ea typeface="Roboto"/>
              <a:cs typeface="Roboto"/>
            </a:endParaRPr>
          </a:p>
          <a:p>
            <a:pPr marL="285750" indent="-285750">
              <a:buClrTx/>
              <a:buFont typeface="Arial" panose="020B0604020202020204" pitchFamily="34" charset="0"/>
              <a:buChar char="•"/>
            </a:pPr>
            <a:r>
              <a:rPr lang="en-US" sz="1800" b="1" err="1">
                <a:solidFill>
                  <a:srgbClr val="000000"/>
                </a:solidFill>
                <a:latin typeface="Roboto"/>
                <a:ea typeface="Roboto"/>
                <a:cs typeface="Roboto"/>
              </a:rPr>
              <a:t>SURFeduhub</a:t>
            </a:r>
            <a:r>
              <a:rPr lang="en-US" sz="1800" b="1">
                <a:solidFill>
                  <a:srgbClr val="000000"/>
                </a:solidFill>
                <a:latin typeface="Roboto"/>
                <a:ea typeface="Roboto"/>
                <a:cs typeface="Roboto"/>
              </a:rPr>
              <a:t>, </a:t>
            </a:r>
            <a:r>
              <a:rPr lang="en-US" sz="1800">
                <a:solidFill>
                  <a:srgbClr val="000000"/>
                </a:solidFill>
                <a:latin typeface="Roboto"/>
                <a:ea typeface="Roboto"/>
                <a:cs typeface="Roboto"/>
              </a:rPr>
              <a:t>a central place where educational data from an institution can be offered to various data customers in a </a:t>
            </a:r>
            <a:r>
              <a:rPr lang="en-US" sz="1800" i="1">
                <a:solidFill>
                  <a:srgbClr val="000000"/>
                </a:solidFill>
                <a:latin typeface="Roboto"/>
                <a:ea typeface="Roboto"/>
                <a:cs typeface="Roboto"/>
              </a:rPr>
              <a:t>uniform</a:t>
            </a:r>
            <a:r>
              <a:rPr lang="en-US" sz="1800">
                <a:solidFill>
                  <a:srgbClr val="000000"/>
                </a:solidFill>
                <a:latin typeface="Roboto"/>
                <a:ea typeface="Roboto"/>
                <a:cs typeface="Roboto"/>
              </a:rPr>
              <a:t> and </a:t>
            </a:r>
            <a:r>
              <a:rPr lang="en-US" sz="1800" i="1">
                <a:solidFill>
                  <a:srgbClr val="000000"/>
                </a:solidFill>
                <a:latin typeface="Roboto"/>
                <a:ea typeface="Roboto"/>
                <a:cs typeface="Roboto"/>
              </a:rPr>
              <a:t>secure</a:t>
            </a:r>
            <a:r>
              <a:rPr lang="en-US" sz="1800">
                <a:solidFill>
                  <a:srgbClr val="000000"/>
                </a:solidFill>
                <a:latin typeface="Roboto"/>
                <a:ea typeface="Roboto"/>
                <a:cs typeface="Roboto"/>
              </a:rPr>
              <a:t> manner</a:t>
            </a:r>
            <a:endParaRPr lang="en-NL" sz="1800">
              <a:solidFill>
                <a:srgbClr val="000000"/>
              </a:solidFill>
              <a:latin typeface="Roboto"/>
              <a:ea typeface="Roboto"/>
              <a:cs typeface="Roboto"/>
            </a:endParaRPr>
          </a:p>
          <a:p>
            <a:pPr marL="285750" indent="-285750">
              <a:buClrTx/>
              <a:buFont typeface="Arial" panose="020B0604020202020204" pitchFamily="34" charset="0"/>
              <a:buChar char="•"/>
            </a:pPr>
            <a:r>
              <a:rPr lang="en-US" sz="1800" b="1" err="1">
                <a:solidFill>
                  <a:srgbClr val="000000"/>
                </a:solidFill>
                <a:latin typeface="Roboto"/>
                <a:ea typeface="Roboto"/>
                <a:cs typeface="Roboto"/>
              </a:rPr>
              <a:t>eduXchange</a:t>
            </a:r>
            <a:r>
              <a:rPr lang="en-US" sz="1800" b="1">
                <a:solidFill>
                  <a:srgbClr val="000000"/>
                </a:solidFill>
                <a:latin typeface="Roboto"/>
                <a:ea typeface="Roboto"/>
                <a:cs typeface="Roboto"/>
              </a:rPr>
              <a:t>, </a:t>
            </a:r>
            <a:r>
              <a:rPr lang="en-US" sz="1800">
                <a:solidFill>
                  <a:srgbClr val="000000"/>
                </a:solidFill>
                <a:latin typeface="Roboto"/>
                <a:ea typeface="Roboto"/>
                <a:cs typeface="Roboto"/>
              </a:rPr>
              <a:t>a front-end for showcasing educational offerings</a:t>
            </a:r>
            <a:endParaRPr lang="en-NL" sz="1800">
              <a:solidFill>
                <a:srgbClr val="000000"/>
              </a:solidFill>
              <a:latin typeface="Roboto"/>
              <a:ea typeface="Roboto"/>
              <a:cs typeface="Roboto"/>
            </a:endParaRPr>
          </a:p>
          <a:p>
            <a:pPr marL="285750" indent="-285750">
              <a:buClrTx/>
              <a:buFont typeface="Arial" panose="020B0604020202020204" pitchFamily="34" charset="0"/>
              <a:buChar char="•"/>
            </a:pPr>
            <a:r>
              <a:rPr lang="en-US" sz="1800" b="1" err="1">
                <a:solidFill>
                  <a:srgbClr val="000000"/>
                </a:solidFill>
                <a:latin typeface="Roboto"/>
                <a:ea typeface="Roboto"/>
                <a:cs typeface="Roboto"/>
              </a:rPr>
              <a:t>eduID</a:t>
            </a:r>
            <a:r>
              <a:rPr lang="en-US" sz="1800" b="1">
                <a:solidFill>
                  <a:srgbClr val="000000"/>
                </a:solidFill>
                <a:latin typeface="Roboto"/>
                <a:ea typeface="Roboto"/>
                <a:cs typeface="Roboto"/>
              </a:rPr>
              <a:t>, </a:t>
            </a:r>
            <a:r>
              <a:rPr lang="en-US" sz="1800">
                <a:solidFill>
                  <a:srgbClr val="000000"/>
                </a:solidFill>
                <a:latin typeface="Roboto"/>
                <a:ea typeface="Roboto"/>
                <a:cs typeface="Roboto"/>
              </a:rPr>
              <a:t>an overarching digital student identity, independent of an institution</a:t>
            </a:r>
            <a:endParaRPr lang="en-NL" sz="1800">
              <a:solidFill>
                <a:srgbClr val="000000"/>
              </a:solidFill>
              <a:latin typeface="Roboto"/>
              <a:ea typeface="Roboto"/>
              <a:cs typeface="Roboto"/>
            </a:endParaRPr>
          </a:p>
          <a:p>
            <a:pPr marL="285750" indent="-285750">
              <a:buClrTx/>
              <a:buFont typeface="Arial" panose="020B0604020202020204" pitchFamily="34" charset="0"/>
              <a:buChar char="•"/>
            </a:pPr>
            <a:r>
              <a:rPr lang="en-US" sz="1800" b="1">
                <a:solidFill>
                  <a:srgbClr val="000000"/>
                </a:solidFill>
                <a:latin typeface="Roboto"/>
                <a:ea typeface="Roboto"/>
                <a:cs typeface="Roboto"/>
              </a:rPr>
              <a:t>Subscription and result broker, </a:t>
            </a:r>
            <a:r>
              <a:rPr lang="en-US" sz="1800">
                <a:solidFill>
                  <a:srgbClr val="000000"/>
                </a:solidFill>
                <a:latin typeface="Roboto"/>
                <a:ea typeface="Roboto"/>
                <a:cs typeface="Roboto"/>
              </a:rPr>
              <a:t>for orchestration of student data between institutions</a:t>
            </a:r>
          </a:p>
          <a:p>
            <a:pPr marL="285750" indent="-285750">
              <a:buClrTx/>
              <a:buFont typeface="Arial" panose="020B0604020202020204" pitchFamily="34" charset="0"/>
              <a:buChar char="•"/>
            </a:pPr>
            <a:r>
              <a:rPr lang="en-US" sz="1800" b="1" err="1">
                <a:latin typeface="Roboto"/>
                <a:ea typeface="Roboto"/>
                <a:cs typeface="Roboto"/>
              </a:rPr>
              <a:t>SURFconext</a:t>
            </a:r>
            <a:r>
              <a:rPr lang="en-US" sz="1800" b="1">
                <a:latin typeface="Roboto"/>
                <a:ea typeface="Roboto"/>
                <a:cs typeface="Roboto"/>
              </a:rPr>
              <a:t> </a:t>
            </a:r>
            <a:r>
              <a:rPr lang="en-US" sz="1800">
                <a:latin typeface="Roboto"/>
                <a:ea typeface="Roboto"/>
                <a:cs typeface="Roboto"/>
              </a:rPr>
              <a:t>API security, for protecting communication between guest and host institutions</a:t>
            </a:r>
          </a:p>
        </p:txBody>
      </p:sp>
      <p:sp>
        <p:nvSpPr>
          <p:cNvPr id="3" name="Tijdelijke aanduiding voor tekst 2">
            <a:extLst>
              <a:ext uri="{FF2B5EF4-FFF2-40B4-BE49-F238E27FC236}">
                <a16:creationId xmlns:a16="http://schemas.microsoft.com/office/drawing/2014/main" id="{E957FCEF-4B70-F0D6-376A-E98B658A00EB}"/>
              </a:ext>
            </a:extLst>
          </p:cNvPr>
          <p:cNvSpPr>
            <a:spLocks noGrp="1"/>
          </p:cNvSpPr>
          <p:nvPr>
            <p:ph type="body" sz="quarter" idx="14"/>
          </p:nvPr>
        </p:nvSpPr>
        <p:spPr/>
        <p:txBody>
          <a:bodyPr/>
          <a:lstStyle/>
          <a:p>
            <a:endParaRPr lang="en-NL"/>
          </a:p>
        </p:txBody>
      </p:sp>
      <p:sp>
        <p:nvSpPr>
          <p:cNvPr id="4" name="Tijdelijke aanduiding voor tekst 3">
            <a:extLst>
              <a:ext uri="{FF2B5EF4-FFF2-40B4-BE49-F238E27FC236}">
                <a16:creationId xmlns:a16="http://schemas.microsoft.com/office/drawing/2014/main" id="{BC1E2337-8C0F-2C00-3C2B-F7363DF06549}"/>
              </a:ext>
            </a:extLst>
          </p:cNvPr>
          <p:cNvSpPr>
            <a:spLocks noGrp="1"/>
          </p:cNvSpPr>
          <p:nvPr>
            <p:ph type="body" sz="quarter" idx="18"/>
          </p:nvPr>
        </p:nvSpPr>
        <p:spPr/>
        <p:txBody>
          <a:bodyPr/>
          <a:lstStyle/>
          <a:p>
            <a:endParaRPr lang="en-NL"/>
          </a:p>
        </p:txBody>
      </p:sp>
      <p:sp>
        <p:nvSpPr>
          <p:cNvPr id="5" name="Titel 4">
            <a:extLst>
              <a:ext uri="{FF2B5EF4-FFF2-40B4-BE49-F238E27FC236}">
                <a16:creationId xmlns:a16="http://schemas.microsoft.com/office/drawing/2014/main" id="{7C52AE85-A2A6-13E0-1A62-939E11BCFB64}"/>
              </a:ext>
            </a:extLst>
          </p:cNvPr>
          <p:cNvSpPr>
            <a:spLocks noGrp="1"/>
          </p:cNvSpPr>
          <p:nvPr>
            <p:ph type="title"/>
          </p:nvPr>
        </p:nvSpPr>
        <p:spPr/>
        <p:txBody>
          <a:bodyPr/>
          <a:lstStyle/>
          <a:p>
            <a:r>
              <a:rPr lang="en-US">
                <a:latin typeface="Roboto"/>
                <a:ea typeface="Roboto"/>
                <a:cs typeface="Roboto"/>
              </a:rPr>
              <a:t>eduXchange.nl -&gt; </a:t>
            </a:r>
            <a:r>
              <a:rPr lang="en-US" err="1">
                <a:latin typeface="Roboto"/>
                <a:ea typeface="Roboto"/>
                <a:cs typeface="Roboto"/>
              </a:rPr>
              <a:t>europe</a:t>
            </a:r>
            <a:endParaRPr lang="en-NL" err="1">
              <a:latin typeface="Roboto" panose="02000000000000000000" pitchFamily="2" charset="0"/>
              <a:ea typeface="Roboto" panose="02000000000000000000" pitchFamily="2" charset="0"/>
              <a:cs typeface="Roboto" panose="02000000000000000000" pitchFamily="2" charset="0"/>
            </a:endParaRPr>
          </a:p>
        </p:txBody>
      </p:sp>
      <p:pic>
        <p:nvPicPr>
          <p:cNvPr id="7" name="Afbeelding 6" descr="eduID Account Linking - SURFconext IdP Dashboard">
            <a:extLst>
              <a:ext uri="{FF2B5EF4-FFF2-40B4-BE49-F238E27FC236}">
                <a16:creationId xmlns:a16="http://schemas.microsoft.com/office/drawing/2014/main" id="{10EA1BF2-370F-4316-A2F0-87823D9BD1FF}"/>
              </a:ext>
            </a:extLst>
          </p:cNvPr>
          <p:cNvPicPr>
            <a:picLocks noChangeAspect="1"/>
          </p:cNvPicPr>
          <p:nvPr/>
        </p:nvPicPr>
        <p:blipFill>
          <a:blip r:embed="rId2"/>
          <a:stretch>
            <a:fillRect/>
          </a:stretch>
        </p:blipFill>
        <p:spPr>
          <a:xfrm>
            <a:off x="9875521" y="3269743"/>
            <a:ext cx="1596480" cy="1277184"/>
          </a:xfrm>
          <a:prstGeom prst="rect">
            <a:avLst/>
          </a:prstGeom>
          <a:effectLst>
            <a:outerShdw blurRad="50800" dist="38100" dir="2700000">
              <a:srgbClr val="000000">
                <a:alpha val="40000"/>
              </a:srgbClr>
            </a:outerShdw>
          </a:effectLst>
        </p:spPr>
      </p:pic>
      <p:pic>
        <p:nvPicPr>
          <p:cNvPr id="14" name="Afbeelding 13" descr="Afbeelding met Lettertype, schermopname, Graphics, zwart&#10;&#10;Automatisch gegenereerde beschrijving">
            <a:extLst>
              <a:ext uri="{FF2B5EF4-FFF2-40B4-BE49-F238E27FC236}">
                <a16:creationId xmlns:a16="http://schemas.microsoft.com/office/drawing/2014/main" id="{97E489DB-37B3-8771-34A7-4911716235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48361" y="2327918"/>
            <a:ext cx="2685565" cy="1101082"/>
          </a:xfrm>
          <a:prstGeom prst="rect">
            <a:avLst/>
          </a:prstGeom>
          <a:effectLst>
            <a:outerShdw blurRad="50800" dist="38100" dir="2700000">
              <a:srgbClr val="000000">
                <a:alpha val="40000"/>
              </a:srgbClr>
            </a:outerShdw>
          </a:effectLst>
        </p:spPr>
      </p:pic>
      <p:pic>
        <p:nvPicPr>
          <p:cNvPr id="6" name="Afbeelding 5" descr="Stageplein - Inloggen">
            <a:extLst>
              <a:ext uri="{FF2B5EF4-FFF2-40B4-BE49-F238E27FC236}">
                <a16:creationId xmlns:a16="http://schemas.microsoft.com/office/drawing/2014/main" id="{4338449A-DCDD-1385-D698-1CF21A5B47F5}"/>
              </a:ext>
            </a:extLst>
          </p:cNvPr>
          <p:cNvPicPr>
            <a:picLocks noChangeAspect="1"/>
          </p:cNvPicPr>
          <p:nvPr/>
        </p:nvPicPr>
        <p:blipFill>
          <a:blip r:embed="rId4"/>
          <a:stretch>
            <a:fillRect/>
          </a:stretch>
        </p:blipFill>
        <p:spPr>
          <a:xfrm>
            <a:off x="9048997" y="4898532"/>
            <a:ext cx="2416629" cy="742287"/>
          </a:xfrm>
          <a:prstGeom prst="rect">
            <a:avLst/>
          </a:prstGeom>
        </p:spPr>
      </p:pic>
      <p:pic>
        <p:nvPicPr>
          <p:cNvPr id="16" name="Afbeelding 15" descr="Check, checkmark, green, ok, tick, yes icon - Download on Iconfinder">
            <a:extLst>
              <a:ext uri="{FF2B5EF4-FFF2-40B4-BE49-F238E27FC236}">
                <a16:creationId xmlns:a16="http://schemas.microsoft.com/office/drawing/2014/main" id="{AB8EABC7-21AA-AB86-B364-F3DC931D8231}"/>
              </a:ext>
            </a:extLst>
          </p:cNvPr>
          <p:cNvPicPr>
            <a:picLocks noChangeAspect="1"/>
          </p:cNvPicPr>
          <p:nvPr/>
        </p:nvPicPr>
        <p:blipFill>
          <a:blip r:embed="rId5"/>
          <a:stretch>
            <a:fillRect/>
          </a:stretch>
        </p:blipFill>
        <p:spPr>
          <a:xfrm>
            <a:off x="496725" y="4327075"/>
            <a:ext cx="736923" cy="688695"/>
          </a:xfrm>
          <a:prstGeom prst="rect">
            <a:avLst/>
          </a:prstGeom>
        </p:spPr>
      </p:pic>
      <p:pic>
        <p:nvPicPr>
          <p:cNvPr id="17" name="Afbeelding 16" descr="Check, checkmark, green, ok, tick, yes icon - Download on Iconfinder">
            <a:extLst>
              <a:ext uri="{FF2B5EF4-FFF2-40B4-BE49-F238E27FC236}">
                <a16:creationId xmlns:a16="http://schemas.microsoft.com/office/drawing/2014/main" id="{F847903B-08B0-ACEA-6C54-3555F73C1870}"/>
              </a:ext>
            </a:extLst>
          </p:cNvPr>
          <p:cNvPicPr>
            <a:picLocks noChangeAspect="1"/>
          </p:cNvPicPr>
          <p:nvPr/>
        </p:nvPicPr>
        <p:blipFill>
          <a:blip r:embed="rId5"/>
          <a:stretch>
            <a:fillRect/>
          </a:stretch>
        </p:blipFill>
        <p:spPr>
          <a:xfrm>
            <a:off x="463229" y="3085499"/>
            <a:ext cx="736923" cy="688695"/>
          </a:xfrm>
          <a:prstGeom prst="rect">
            <a:avLst/>
          </a:prstGeom>
        </p:spPr>
      </p:pic>
      <p:pic>
        <p:nvPicPr>
          <p:cNvPr id="19" name="Afbeelding 18" descr="Check, checkmark, green, ok, tick, yes icon - Download on Iconfinder">
            <a:extLst>
              <a:ext uri="{FF2B5EF4-FFF2-40B4-BE49-F238E27FC236}">
                <a16:creationId xmlns:a16="http://schemas.microsoft.com/office/drawing/2014/main" id="{8A54A3A3-A4E1-C41D-8CB1-2F1275354F76}"/>
              </a:ext>
            </a:extLst>
          </p:cNvPr>
          <p:cNvPicPr>
            <a:picLocks noChangeAspect="1"/>
          </p:cNvPicPr>
          <p:nvPr/>
        </p:nvPicPr>
        <p:blipFill>
          <a:blip r:embed="rId5"/>
          <a:stretch>
            <a:fillRect/>
          </a:stretch>
        </p:blipFill>
        <p:spPr>
          <a:xfrm>
            <a:off x="496725" y="2236318"/>
            <a:ext cx="736923" cy="688695"/>
          </a:xfrm>
          <a:prstGeom prst="rect">
            <a:avLst/>
          </a:prstGeom>
        </p:spPr>
      </p:pic>
      <p:pic>
        <p:nvPicPr>
          <p:cNvPr id="20" name="Afbeelding 19" descr="Check, checkmark, green, ok, tick, yes icon - Download on Iconfinder">
            <a:extLst>
              <a:ext uri="{FF2B5EF4-FFF2-40B4-BE49-F238E27FC236}">
                <a16:creationId xmlns:a16="http://schemas.microsoft.com/office/drawing/2014/main" id="{9EC523E9-87F4-9306-3522-05B3CAC51F2D}"/>
              </a:ext>
            </a:extLst>
          </p:cNvPr>
          <p:cNvPicPr>
            <a:picLocks noChangeAspect="1"/>
          </p:cNvPicPr>
          <p:nvPr/>
        </p:nvPicPr>
        <p:blipFill>
          <a:blip r:embed="rId5"/>
          <a:stretch>
            <a:fillRect/>
          </a:stretch>
        </p:blipFill>
        <p:spPr>
          <a:xfrm>
            <a:off x="509284" y="1401499"/>
            <a:ext cx="736923" cy="688695"/>
          </a:xfrm>
          <a:prstGeom prst="rect">
            <a:avLst/>
          </a:prstGeom>
        </p:spPr>
      </p:pic>
      <p:pic>
        <p:nvPicPr>
          <p:cNvPr id="21" name="Afbeelding 20" descr="not available&quot; Icon - Download for free – Iconduck">
            <a:extLst>
              <a:ext uri="{FF2B5EF4-FFF2-40B4-BE49-F238E27FC236}">
                <a16:creationId xmlns:a16="http://schemas.microsoft.com/office/drawing/2014/main" id="{06A0AC3C-9BA4-0CD7-5024-80474BC18F22}"/>
              </a:ext>
            </a:extLst>
          </p:cNvPr>
          <p:cNvPicPr>
            <a:picLocks noChangeAspect="1"/>
          </p:cNvPicPr>
          <p:nvPr/>
        </p:nvPicPr>
        <p:blipFill>
          <a:blip r:embed="rId6"/>
          <a:stretch>
            <a:fillRect/>
          </a:stretch>
        </p:blipFill>
        <p:spPr>
          <a:xfrm>
            <a:off x="577706" y="3807116"/>
            <a:ext cx="505428" cy="476492"/>
          </a:xfrm>
          <a:prstGeom prst="rect">
            <a:avLst/>
          </a:prstGeom>
        </p:spPr>
      </p:pic>
      <p:pic>
        <p:nvPicPr>
          <p:cNvPr id="22" name="Afbeelding 21" descr="not available&quot; Icon - Download for free – Iconduck">
            <a:extLst>
              <a:ext uri="{FF2B5EF4-FFF2-40B4-BE49-F238E27FC236}">
                <a16:creationId xmlns:a16="http://schemas.microsoft.com/office/drawing/2014/main" id="{AB47CB17-8E5B-0510-0CD3-70F2C179A667}"/>
              </a:ext>
            </a:extLst>
          </p:cNvPr>
          <p:cNvPicPr>
            <a:picLocks noChangeAspect="1"/>
          </p:cNvPicPr>
          <p:nvPr/>
        </p:nvPicPr>
        <p:blipFill>
          <a:blip r:embed="rId6"/>
          <a:stretch>
            <a:fillRect/>
          </a:stretch>
        </p:blipFill>
        <p:spPr>
          <a:xfrm>
            <a:off x="576433" y="5115998"/>
            <a:ext cx="505428" cy="476492"/>
          </a:xfrm>
          <a:prstGeom prst="rect">
            <a:avLst/>
          </a:prstGeom>
        </p:spPr>
      </p:pic>
      <p:pic>
        <p:nvPicPr>
          <p:cNvPr id="23" name="Afbeelding 22" descr="not available&quot; Icon - Download for free – Iconduck">
            <a:extLst>
              <a:ext uri="{FF2B5EF4-FFF2-40B4-BE49-F238E27FC236}">
                <a16:creationId xmlns:a16="http://schemas.microsoft.com/office/drawing/2014/main" id="{2866F70B-B715-5A98-C855-E96CB71D3E60}"/>
              </a:ext>
            </a:extLst>
          </p:cNvPr>
          <p:cNvPicPr>
            <a:picLocks noChangeAspect="1"/>
          </p:cNvPicPr>
          <p:nvPr/>
        </p:nvPicPr>
        <p:blipFill>
          <a:blip r:embed="rId6"/>
          <a:stretch>
            <a:fillRect/>
          </a:stretch>
        </p:blipFill>
        <p:spPr>
          <a:xfrm>
            <a:off x="9368740" y="3698063"/>
            <a:ext cx="1984070" cy="1946062"/>
          </a:xfrm>
          <a:prstGeom prst="rect">
            <a:avLst/>
          </a:prstGeom>
        </p:spPr>
      </p:pic>
      <p:pic>
        <p:nvPicPr>
          <p:cNvPr id="9" name="Afbeelding 8" descr="Afbeelding met Lettertype, Graphics, grafische vormgeving, tekst&#10;&#10;Door AI gegenereerde inhoud is mogelijk onjuist.">
            <a:extLst>
              <a:ext uri="{FF2B5EF4-FFF2-40B4-BE49-F238E27FC236}">
                <a16:creationId xmlns:a16="http://schemas.microsoft.com/office/drawing/2014/main" id="{5E18A98A-19D9-7A03-9EB7-425FE196B308}"/>
              </a:ext>
            </a:extLst>
          </p:cNvPr>
          <p:cNvPicPr>
            <a:picLocks noChangeAspect="1"/>
          </p:cNvPicPr>
          <p:nvPr/>
        </p:nvPicPr>
        <p:blipFill>
          <a:blip r:embed="rId7"/>
          <a:stretch>
            <a:fillRect/>
          </a:stretch>
        </p:blipFill>
        <p:spPr>
          <a:xfrm>
            <a:off x="9407935" y="1231438"/>
            <a:ext cx="2061292" cy="1093122"/>
          </a:xfrm>
          <a:prstGeom prst="rect">
            <a:avLst/>
          </a:prstGeom>
        </p:spPr>
      </p:pic>
      <p:pic>
        <p:nvPicPr>
          <p:cNvPr id="8" name="Afbeelding 7" descr="Afbeelding met tekst, Lettertype, schermopname, logo&#10;&#10;Door AI gegenereerde inhoud is mogelijk onjuist.">
            <a:extLst>
              <a:ext uri="{FF2B5EF4-FFF2-40B4-BE49-F238E27FC236}">
                <a16:creationId xmlns:a16="http://schemas.microsoft.com/office/drawing/2014/main" id="{C65B2056-6AD3-969A-4A17-054F8916933F}"/>
              </a:ext>
            </a:extLst>
          </p:cNvPr>
          <p:cNvPicPr>
            <a:picLocks noChangeAspect="1"/>
          </p:cNvPicPr>
          <p:nvPr/>
        </p:nvPicPr>
        <p:blipFill>
          <a:blip r:embed="rId8"/>
          <a:stretch>
            <a:fillRect/>
          </a:stretch>
        </p:blipFill>
        <p:spPr>
          <a:xfrm>
            <a:off x="9669019" y="538458"/>
            <a:ext cx="2009775" cy="523875"/>
          </a:xfrm>
          <a:prstGeom prst="rect">
            <a:avLst/>
          </a:prstGeom>
        </p:spPr>
      </p:pic>
    </p:spTree>
    <p:extLst>
      <p:ext uri="{BB962C8B-B14F-4D97-AF65-F5344CB8AC3E}">
        <p14:creationId xmlns:p14="http://schemas.microsoft.com/office/powerpoint/2010/main" val="156895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22229D-12D7-5A06-7DEC-84B53F3EED43}"/>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04B70FD7-E63B-D377-AB31-49FD804E47D5}"/>
              </a:ext>
            </a:extLst>
          </p:cNvPr>
          <p:cNvSpPr>
            <a:spLocks noGrp="1"/>
          </p:cNvSpPr>
          <p:nvPr>
            <p:ph type="body" orient="vert" idx="1"/>
          </p:nvPr>
        </p:nvSpPr>
        <p:spPr/>
        <p:txBody>
          <a:bodyPr vert="horz" lIns="0" tIns="0" rIns="0" bIns="0" rtlCol="0" anchor="t">
            <a:noAutofit/>
          </a:bodyPr>
          <a:lstStyle/>
          <a:p>
            <a:pPr marL="285750" indent="-285750">
              <a:buClrTx/>
              <a:buFont typeface="Arial" panose="020B0604020202020204" pitchFamily="34" charset="0"/>
              <a:buChar char="•"/>
            </a:pPr>
            <a:r>
              <a:rPr lang="en-US" sz="2000" b="1" err="1">
                <a:ea typeface="+mn-lt"/>
                <a:cs typeface="+mn-lt"/>
              </a:rPr>
              <a:t>MyAcademicID</a:t>
            </a:r>
            <a:r>
              <a:rPr lang="en-US" sz="2000" b="1">
                <a:ea typeface="+mn-lt"/>
                <a:cs typeface="+mn-lt"/>
              </a:rPr>
              <a:t> </a:t>
            </a:r>
            <a:r>
              <a:rPr lang="en-US" sz="2000">
                <a:ea typeface="+mn-lt"/>
                <a:cs typeface="+mn-lt"/>
              </a:rPr>
              <a:t>was funded by the Connecting Europe Facility </a:t>
            </a:r>
            <a:r>
              <a:rPr lang="en-US" sz="2000" err="1">
                <a:ea typeface="+mn-lt"/>
                <a:cs typeface="+mn-lt"/>
              </a:rPr>
              <a:t>programme</a:t>
            </a:r>
            <a:r>
              <a:rPr lang="en-US" sz="2000">
                <a:ea typeface="+mn-lt"/>
                <a:cs typeface="+mn-lt"/>
              </a:rPr>
              <a:t> in 2019-2020 in the context of the European Student Card initiative and delivered on the core promise to enable students to </a:t>
            </a:r>
            <a:r>
              <a:rPr lang="en-US" sz="2000" b="1">
                <a:ea typeface="+mn-lt"/>
                <a:cs typeface="+mn-lt"/>
              </a:rPr>
              <a:t>authenticate for their studies abroad</a:t>
            </a:r>
            <a:r>
              <a:rPr lang="en-US" sz="2000">
                <a:ea typeface="+mn-lt"/>
                <a:cs typeface="+mn-lt"/>
              </a:rPr>
              <a:t> using their home student account thanks to </a:t>
            </a:r>
            <a:r>
              <a:rPr lang="en-US" sz="2000" b="1" err="1">
                <a:ea typeface="+mn-lt"/>
                <a:cs typeface="+mn-lt"/>
              </a:rPr>
              <a:t>eduGAIN</a:t>
            </a:r>
            <a:r>
              <a:rPr lang="en-US" sz="2000">
                <a:ea typeface="+mn-lt"/>
                <a:cs typeface="+mn-lt"/>
              </a:rPr>
              <a:t>.</a:t>
            </a:r>
          </a:p>
          <a:p>
            <a:pPr marL="285750" indent="-285750">
              <a:buClrTx/>
              <a:buFont typeface="Arial" panose="020B0604020202020204" pitchFamily="34" charset="0"/>
              <a:buChar char="•"/>
            </a:pPr>
            <a:r>
              <a:rPr lang="en-US" sz="2000">
                <a:ea typeface="+mn-lt"/>
                <a:cs typeface="+mn-lt"/>
              </a:rPr>
              <a:t>The project resulted in the creation of an </a:t>
            </a:r>
            <a:r>
              <a:rPr lang="en-US" sz="2000" b="1">
                <a:ea typeface="+mn-lt"/>
                <a:cs typeface="+mn-lt"/>
              </a:rPr>
              <a:t>identity and access management platform</a:t>
            </a:r>
            <a:r>
              <a:rPr lang="en-US" sz="2000">
                <a:ea typeface="+mn-lt"/>
                <a:cs typeface="+mn-lt"/>
              </a:rPr>
              <a:t> combining both </a:t>
            </a:r>
            <a:r>
              <a:rPr lang="en-US" sz="2000" err="1">
                <a:ea typeface="+mn-lt"/>
                <a:cs typeface="+mn-lt"/>
              </a:rPr>
              <a:t>eIDAS</a:t>
            </a:r>
            <a:r>
              <a:rPr lang="en-US" sz="2000">
                <a:ea typeface="+mn-lt"/>
                <a:cs typeface="+mn-lt"/>
              </a:rPr>
              <a:t> and </a:t>
            </a:r>
            <a:r>
              <a:rPr lang="en-US" sz="2000" b="1" err="1">
                <a:ea typeface="+mn-lt"/>
                <a:cs typeface="+mn-lt"/>
              </a:rPr>
              <a:t>eduGAIN</a:t>
            </a:r>
            <a:r>
              <a:rPr lang="en-US" sz="2000">
                <a:ea typeface="+mn-lt"/>
                <a:cs typeface="+mn-lt"/>
              </a:rPr>
              <a:t> for the authentication on e-services related to the Erasmus+ </a:t>
            </a:r>
            <a:r>
              <a:rPr lang="en-US" sz="2000" err="1">
                <a:ea typeface="+mn-lt"/>
                <a:cs typeface="+mn-lt"/>
              </a:rPr>
              <a:t>programme</a:t>
            </a:r>
            <a:endParaRPr lang="en-US" sz="2000" err="1">
              <a:latin typeface="Calibri Light"/>
              <a:ea typeface="Calibri Light"/>
              <a:cs typeface="Calibri Light"/>
            </a:endParaRPr>
          </a:p>
        </p:txBody>
      </p:sp>
      <p:sp>
        <p:nvSpPr>
          <p:cNvPr id="3" name="Tijdelijke aanduiding voor tekst 2">
            <a:extLst>
              <a:ext uri="{FF2B5EF4-FFF2-40B4-BE49-F238E27FC236}">
                <a16:creationId xmlns:a16="http://schemas.microsoft.com/office/drawing/2014/main" id="{B8DA6FE8-ED29-BEC7-2BA1-13C92A6DBDDD}"/>
              </a:ext>
            </a:extLst>
          </p:cNvPr>
          <p:cNvSpPr>
            <a:spLocks noGrp="1"/>
          </p:cNvSpPr>
          <p:nvPr>
            <p:ph type="body" sz="quarter" idx="14"/>
          </p:nvPr>
        </p:nvSpPr>
        <p:spPr/>
        <p:txBody>
          <a:bodyPr/>
          <a:lstStyle/>
          <a:p>
            <a:endParaRPr lang="en-NL"/>
          </a:p>
        </p:txBody>
      </p:sp>
      <p:sp>
        <p:nvSpPr>
          <p:cNvPr id="4" name="Tijdelijke aanduiding voor tekst 3">
            <a:extLst>
              <a:ext uri="{FF2B5EF4-FFF2-40B4-BE49-F238E27FC236}">
                <a16:creationId xmlns:a16="http://schemas.microsoft.com/office/drawing/2014/main" id="{C5DE58FF-9976-AFC4-BAD1-9323A106D829}"/>
              </a:ext>
            </a:extLst>
          </p:cNvPr>
          <p:cNvSpPr>
            <a:spLocks noGrp="1"/>
          </p:cNvSpPr>
          <p:nvPr>
            <p:ph type="body" sz="quarter" idx="18"/>
          </p:nvPr>
        </p:nvSpPr>
        <p:spPr/>
        <p:txBody>
          <a:bodyPr/>
          <a:lstStyle/>
          <a:p>
            <a:endParaRPr lang="en-NL"/>
          </a:p>
        </p:txBody>
      </p:sp>
      <p:sp>
        <p:nvSpPr>
          <p:cNvPr id="5" name="Titel 4">
            <a:extLst>
              <a:ext uri="{FF2B5EF4-FFF2-40B4-BE49-F238E27FC236}">
                <a16:creationId xmlns:a16="http://schemas.microsoft.com/office/drawing/2014/main" id="{7EC509E2-4530-C243-008E-D7F9596878FB}"/>
              </a:ext>
            </a:extLst>
          </p:cNvPr>
          <p:cNvSpPr>
            <a:spLocks noGrp="1"/>
          </p:cNvSpPr>
          <p:nvPr>
            <p:ph type="title"/>
          </p:nvPr>
        </p:nvSpPr>
        <p:spPr/>
        <p:txBody>
          <a:bodyPr/>
          <a:lstStyle/>
          <a:p>
            <a:r>
              <a:rPr lang="en-US">
                <a:latin typeface="Roboto"/>
                <a:ea typeface="Roboto"/>
                <a:cs typeface="Roboto"/>
              </a:rPr>
              <a:t>eduXchange.nl -&gt; europe</a:t>
            </a:r>
            <a:endParaRPr lang="en-NL">
              <a:latin typeface="Roboto" panose="02000000000000000000" pitchFamily="2" charset="0"/>
              <a:ea typeface="Roboto" panose="02000000000000000000" pitchFamily="2" charset="0"/>
              <a:cs typeface="Roboto" panose="02000000000000000000" pitchFamily="2" charset="0"/>
            </a:endParaRPr>
          </a:p>
        </p:txBody>
      </p:sp>
      <p:pic>
        <p:nvPicPr>
          <p:cNvPr id="14" name="Afbeelding 13" descr="Afbeelding met Lettertype, schermopname, Graphics, zwart&#10;&#10;Automatisch gegenereerde beschrijving">
            <a:extLst>
              <a:ext uri="{FF2B5EF4-FFF2-40B4-BE49-F238E27FC236}">
                <a16:creationId xmlns:a16="http://schemas.microsoft.com/office/drawing/2014/main" id="{B36D91B0-D134-D09D-8B9B-7F97F3D86D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48361" y="2617285"/>
            <a:ext cx="2685565" cy="1101082"/>
          </a:xfrm>
          <a:prstGeom prst="rect">
            <a:avLst/>
          </a:prstGeom>
          <a:effectLst>
            <a:outerShdw blurRad="50800" dist="38100" dir="2700000">
              <a:srgbClr val="000000">
                <a:alpha val="40000"/>
              </a:srgbClr>
            </a:outerShdw>
          </a:effectLst>
        </p:spPr>
      </p:pic>
      <p:pic>
        <p:nvPicPr>
          <p:cNvPr id="8" name="Afbeelding 7" descr="MyAcademicID | Developing a European Student eID scheme for Higher Education">
            <a:extLst>
              <a:ext uri="{FF2B5EF4-FFF2-40B4-BE49-F238E27FC236}">
                <a16:creationId xmlns:a16="http://schemas.microsoft.com/office/drawing/2014/main" id="{650145AD-6363-7DA1-8660-83FF9B4EE7B9}"/>
              </a:ext>
            </a:extLst>
          </p:cNvPr>
          <p:cNvPicPr>
            <a:picLocks noChangeAspect="1"/>
          </p:cNvPicPr>
          <p:nvPr/>
        </p:nvPicPr>
        <p:blipFill>
          <a:blip r:embed="rId3"/>
          <a:stretch>
            <a:fillRect/>
          </a:stretch>
        </p:blipFill>
        <p:spPr>
          <a:xfrm>
            <a:off x="9035971" y="4228001"/>
            <a:ext cx="2743198" cy="813390"/>
          </a:xfrm>
          <a:prstGeom prst="rect">
            <a:avLst/>
          </a:prstGeom>
        </p:spPr>
      </p:pic>
      <p:pic>
        <p:nvPicPr>
          <p:cNvPr id="6" name="Afbeelding 5" descr="Promotional materials – eduGAIN">
            <a:extLst>
              <a:ext uri="{FF2B5EF4-FFF2-40B4-BE49-F238E27FC236}">
                <a16:creationId xmlns:a16="http://schemas.microsoft.com/office/drawing/2014/main" id="{01D73F05-EDCF-4C86-392A-FBE3E166119E}"/>
              </a:ext>
            </a:extLst>
          </p:cNvPr>
          <p:cNvPicPr>
            <a:picLocks noChangeAspect="1"/>
          </p:cNvPicPr>
          <p:nvPr/>
        </p:nvPicPr>
        <p:blipFill>
          <a:blip r:embed="rId4"/>
          <a:stretch>
            <a:fillRect/>
          </a:stretch>
        </p:blipFill>
        <p:spPr>
          <a:xfrm>
            <a:off x="8215979" y="5648889"/>
            <a:ext cx="2415485" cy="527690"/>
          </a:xfrm>
          <a:prstGeom prst="rect">
            <a:avLst/>
          </a:prstGeom>
        </p:spPr>
      </p:pic>
      <p:pic>
        <p:nvPicPr>
          <p:cNvPr id="9" name="Afbeelding 8" descr="Afbeelding met Lettertype, Graphics, grafische vormgeving, tekst&#10;&#10;Door AI gegenereerde inhoud is mogelijk onjuist.">
            <a:extLst>
              <a:ext uri="{FF2B5EF4-FFF2-40B4-BE49-F238E27FC236}">
                <a16:creationId xmlns:a16="http://schemas.microsoft.com/office/drawing/2014/main" id="{6D013FC7-FE45-3300-C594-1CF08CFA761C}"/>
              </a:ext>
            </a:extLst>
          </p:cNvPr>
          <p:cNvPicPr>
            <a:picLocks noChangeAspect="1"/>
          </p:cNvPicPr>
          <p:nvPr/>
        </p:nvPicPr>
        <p:blipFill>
          <a:blip r:embed="rId5"/>
          <a:stretch>
            <a:fillRect/>
          </a:stretch>
        </p:blipFill>
        <p:spPr>
          <a:xfrm>
            <a:off x="9399741" y="1518213"/>
            <a:ext cx="2061292" cy="1093122"/>
          </a:xfrm>
          <a:prstGeom prst="rect">
            <a:avLst/>
          </a:prstGeom>
        </p:spPr>
      </p:pic>
      <p:pic>
        <p:nvPicPr>
          <p:cNvPr id="10" name="Afbeelding 9" descr="Afbeelding met tekst, Lettertype, schermopname, logo&#10;&#10;Door AI gegenereerde inhoud is mogelijk onjuist.">
            <a:extLst>
              <a:ext uri="{FF2B5EF4-FFF2-40B4-BE49-F238E27FC236}">
                <a16:creationId xmlns:a16="http://schemas.microsoft.com/office/drawing/2014/main" id="{CC3A4F5E-AF58-F921-319E-DD7E3C61F608}"/>
              </a:ext>
            </a:extLst>
          </p:cNvPr>
          <p:cNvPicPr>
            <a:picLocks noChangeAspect="1"/>
          </p:cNvPicPr>
          <p:nvPr/>
        </p:nvPicPr>
        <p:blipFill>
          <a:blip r:embed="rId6"/>
          <a:stretch>
            <a:fillRect/>
          </a:stretch>
        </p:blipFill>
        <p:spPr>
          <a:xfrm>
            <a:off x="9669019" y="684315"/>
            <a:ext cx="2009775" cy="523875"/>
          </a:xfrm>
          <a:prstGeom prst="rect">
            <a:avLst/>
          </a:prstGeom>
        </p:spPr>
      </p:pic>
    </p:spTree>
    <p:extLst>
      <p:ext uri="{BB962C8B-B14F-4D97-AF65-F5344CB8AC3E}">
        <p14:creationId xmlns:p14="http://schemas.microsoft.com/office/powerpoint/2010/main" val="2648295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736081-039E-9E01-B54B-414F0ED8A4D1}"/>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A114EE5B-B3E2-E6F1-037B-51B5583DC398}"/>
              </a:ext>
            </a:extLst>
          </p:cNvPr>
          <p:cNvSpPr>
            <a:spLocks noGrp="1"/>
          </p:cNvSpPr>
          <p:nvPr>
            <p:ph type="title"/>
          </p:nvPr>
        </p:nvSpPr>
        <p:spPr/>
        <p:txBody>
          <a:bodyPr/>
          <a:lstStyle/>
          <a:p>
            <a:r>
              <a:rPr lang="en-GB"/>
              <a:t>Chapter yellow</a:t>
            </a:r>
          </a:p>
        </p:txBody>
      </p:sp>
      <p:sp>
        <p:nvSpPr>
          <p:cNvPr id="6" name="Tijdelijke aanduiding voor tekst 10">
            <a:extLst>
              <a:ext uri="{FF2B5EF4-FFF2-40B4-BE49-F238E27FC236}">
                <a16:creationId xmlns:a16="http://schemas.microsoft.com/office/drawing/2014/main" id="{FA5F174F-2A6A-2356-83C3-6359351C5DAB}"/>
              </a:ext>
            </a:extLst>
          </p:cNvPr>
          <p:cNvSpPr txBox="1">
            <a:spLocks/>
          </p:cNvSpPr>
          <p:nvPr/>
        </p:nvSpPr>
        <p:spPr>
          <a:xfrm>
            <a:off x="193040" y="216852"/>
            <a:ext cx="11805920" cy="6424295"/>
          </a:xfrm>
          <a:prstGeom prst="roundRect">
            <a:avLst>
              <a:gd name="adj" fmla="val 3563"/>
            </a:avLst>
          </a:prstGeom>
          <a:solidFill>
            <a:schemeClr val="accent2"/>
          </a:solidFill>
        </p:spPr>
        <p:txBody>
          <a:bodyPr wrap="square">
            <a:noAutofit/>
          </a:bodyPr>
          <a:lstStyle>
            <a:lvl1pPr marL="0" indent="0" algn="l" defTabSz="914400" rtl="0" eaLnBrk="1" latinLnBrk="0" hangingPunct="1">
              <a:lnSpc>
                <a:spcPct val="90000"/>
              </a:lnSpc>
              <a:spcBef>
                <a:spcPts val="600"/>
              </a:spcBef>
              <a:spcAft>
                <a:spcPts val="600"/>
              </a:spcAft>
              <a:buClr>
                <a:schemeClr val="accent1"/>
              </a:buClr>
              <a:buSzPct val="110000"/>
              <a:buFont typeface="Aptos" panose="020B0004020202020204" pitchFamily="34" charset="0"/>
              <a:buNone/>
              <a:defRPr sz="100" kern="1200">
                <a:solidFill>
                  <a:schemeClr val="tx1"/>
                </a:solidFill>
                <a:latin typeface="+mn-lt"/>
                <a:ea typeface="+mn-ea"/>
                <a:cs typeface="+mn-cs"/>
              </a:defRPr>
            </a:lvl1pPr>
            <a:lvl2pPr marL="355600" indent="-177800" algn="l" defTabSz="914400" rtl="0" eaLnBrk="1" latinLnBrk="0" hangingPunct="1">
              <a:lnSpc>
                <a:spcPct val="90000"/>
              </a:lnSpc>
              <a:spcBef>
                <a:spcPts val="600"/>
              </a:spcBef>
              <a:spcAft>
                <a:spcPts val="600"/>
              </a:spcAft>
              <a:buClr>
                <a:schemeClr val="tx2"/>
              </a:buClr>
              <a:buFont typeface="Aptos" panose="020B0004020202020204" pitchFamily="34" charset="0"/>
              <a:buChar char="•"/>
              <a:tabLst/>
              <a:defRPr sz="1600" kern="1200">
                <a:solidFill>
                  <a:schemeClr val="tx1"/>
                </a:solidFill>
                <a:latin typeface="+mn-lt"/>
                <a:ea typeface="+mn-ea"/>
                <a:cs typeface="+mn-cs"/>
              </a:defRPr>
            </a:lvl2pPr>
            <a:lvl3pPr marL="531813" indent="-176213"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1600" kern="1200">
                <a:solidFill>
                  <a:schemeClr val="tx1"/>
                </a:solidFill>
                <a:latin typeface="+mn-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5"/>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2"/>
                </a:solidFill>
                <a:latin typeface="+mj-lt"/>
                <a:ea typeface="+mn-ea"/>
                <a:cs typeface="+mn-cs"/>
              </a:defRPr>
            </a:lvl6pPr>
            <a:lvl7pPr marL="342900" indent="-342900" algn="l" defTabSz="914400" rtl="0" eaLnBrk="1" latinLnBrk="0" hangingPunct="1">
              <a:lnSpc>
                <a:spcPct val="90000"/>
              </a:lnSpc>
              <a:spcBef>
                <a:spcPts val="600"/>
              </a:spcBef>
              <a:spcAft>
                <a:spcPts val="600"/>
              </a:spcAft>
              <a:buClr>
                <a:schemeClr val="tx2"/>
              </a:buClr>
              <a:buFont typeface="+mj-lt"/>
              <a:buAutoNum type="arabicPeriod"/>
              <a:tabLst/>
              <a:defRPr sz="1600" kern="1200">
                <a:solidFill>
                  <a:schemeClr val="tx1"/>
                </a:solidFill>
                <a:latin typeface="+mn-lt"/>
                <a:ea typeface="+mn-ea"/>
                <a:cs typeface="+mn-cs"/>
              </a:defRPr>
            </a:lvl7pPr>
            <a:lvl8pPr marL="342900" indent="-342900" algn="l" defTabSz="914400" rtl="0" eaLnBrk="1" latinLnBrk="0" hangingPunct="1">
              <a:lnSpc>
                <a:spcPct val="90000"/>
              </a:lnSpc>
              <a:spcBef>
                <a:spcPts val="600"/>
              </a:spcBef>
              <a:spcAft>
                <a:spcPts val="600"/>
              </a:spcAft>
              <a:buClr>
                <a:schemeClr val="tx2"/>
              </a:buClr>
              <a:buFont typeface="+mj-lt"/>
              <a:buAutoNum type="alphaLcPeriod"/>
              <a:defRPr sz="1600" kern="1200">
                <a:solidFill>
                  <a:schemeClr val="tx1"/>
                </a:solidFill>
                <a:latin typeface="+mn-lt"/>
                <a:ea typeface="+mn-ea"/>
                <a:cs typeface="+mn-cs"/>
              </a:defRPr>
            </a:lvl8pPr>
            <a:lvl9pPr marL="541338" indent="-180975"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F6DA44"/>
              </a:buClr>
              <a:buSzPct val="110000"/>
              <a:buFont typeface="Aptos" panose="020B0004020202020204" pitchFamily="34" charset="0"/>
              <a:buNone/>
              <a:tabLst/>
              <a:defRPr/>
            </a:pPr>
            <a:r>
              <a:rPr kumimoji="0" lang="en-GB" sz="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p>
        </p:txBody>
      </p:sp>
      <p:sp>
        <p:nvSpPr>
          <p:cNvPr id="10" name="Tekstvak 9">
            <a:extLst>
              <a:ext uri="{FF2B5EF4-FFF2-40B4-BE49-F238E27FC236}">
                <a16:creationId xmlns:a16="http://schemas.microsoft.com/office/drawing/2014/main" id="{2AD9E74B-6137-C594-B70C-91B624DD3299}"/>
              </a:ext>
            </a:extLst>
          </p:cNvPr>
          <p:cNvSpPr txBox="1"/>
          <p:nvPr/>
        </p:nvSpPr>
        <p:spPr>
          <a:xfrm>
            <a:off x="902979" y="2987073"/>
            <a:ext cx="9603514" cy="940292"/>
          </a:xfrm>
          <a:prstGeom prst="rect">
            <a:avLst/>
          </a:prstGeom>
          <a:noFill/>
        </p:spPr>
        <p:txBody>
          <a:bodyPr wrap="square" lIns="0" tIns="0" rIns="0" bIns="0" rtlCol="0" anchor="b">
            <a:noAutofit/>
          </a:bodyPr>
          <a:lstStyle/>
          <a:p>
            <a:pPr>
              <a:lnSpc>
                <a:spcPct val="80000"/>
              </a:lnSpc>
              <a:defRPr/>
            </a:pPr>
            <a:r>
              <a:rPr lang="en-GB" sz="6600" b="1">
                <a:solidFill>
                  <a:srgbClr val="070809"/>
                </a:solidFill>
              </a:rPr>
              <a:t>Automating Enrolment</a:t>
            </a:r>
            <a:endParaRPr lang="nl-NL" err="1">
              <a:ea typeface="+mn-ea"/>
              <a:cs typeface="+mn-cs"/>
            </a:endParaRPr>
          </a:p>
        </p:txBody>
      </p:sp>
      <p:sp>
        <p:nvSpPr>
          <p:cNvPr id="11" name="Tijdelijke aanduiding voor tekst 12">
            <a:extLst>
              <a:ext uri="{FF2B5EF4-FFF2-40B4-BE49-F238E27FC236}">
                <a16:creationId xmlns:a16="http://schemas.microsoft.com/office/drawing/2014/main" id="{5987F2D4-9E30-B354-7245-D1F55C17998E}"/>
              </a:ext>
            </a:extLst>
          </p:cNvPr>
          <p:cNvSpPr txBox="1">
            <a:spLocks/>
          </p:cNvSpPr>
          <p:nvPr/>
        </p:nvSpPr>
        <p:spPr>
          <a:xfrm>
            <a:off x="708207" y="3122999"/>
            <a:ext cx="36000" cy="612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lgn="l" defTabSz="914400" rtl="0" eaLnBrk="1" latinLnBrk="0" hangingPunct="1">
              <a:lnSpc>
                <a:spcPct val="90000"/>
              </a:lnSpc>
              <a:spcBef>
                <a:spcPts val="600"/>
              </a:spcBef>
              <a:spcAft>
                <a:spcPts val="600"/>
              </a:spcAft>
              <a:buClr>
                <a:schemeClr val="accent4"/>
              </a:buClr>
              <a:buSzPct val="100000"/>
              <a:buFontTx/>
              <a:buNone/>
              <a:defRPr sz="100" kern="1200">
                <a:solidFill>
                  <a:schemeClr val="tx1"/>
                </a:solidFill>
                <a:latin typeface="+mn-lt"/>
                <a:ea typeface="+mn-ea"/>
                <a:cs typeface="+mn-cs"/>
              </a:defRPr>
            </a:lvl1pPr>
            <a:lvl2pPr marL="0" indent="0" algn="l" defTabSz="914400" rtl="0" eaLnBrk="1" latinLnBrk="0" hangingPunct="1">
              <a:lnSpc>
                <a:spcPct val="90000"/>
              </a:lnSpc>
              <a:spcBef>
                <a:spcPts val="600"/>
              </a:spcBef>
              <a:spcAft>
                <a:spcPts val="600"/>
              </a:spcAft>
              <a:buClr>
                <a:schemeClr val="tx2"/>
              </a:buClr>
              <a:buFont typeface="Aptos" panose="020B0004020202020204" pitchFamily="34" charset="0"/>
              <a:buNone/>
              <a:tabLst/>
              <a:defRPr sz="1600" kern="1200">
                <a:solidFill>
                  <a:schemeClr val="tx1"/>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tx2"/>
              </a:buClr>
              <a:buFontTx/>
              <a:buNone/>
              <a:defRPr sz="2000" b="1" kern="1200">
                <a:solidFill>
                  <a:schemeClr val="accent3"/>
                </a:solidFill>
                <a:latin typeface="+mj-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2"/>
                </a:solidFill>
                <a:latin typeface="+mj-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4"/>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5"/>
                </a:solidFill>
                <a:latin typeface="+mj-lt"/>
                <a:ea typeface="+mn-ea"/>
                <a:cs typeface="+mn-cs"/>
              </a:defRPr>
            </a:lvl6pPr>
            <a:lvl7pPr marL="0" indent="0" algn="l" defTabSz="914400" rtl="0" eaLnBrk="1" latinLnBrk="0" hangingPunct="1">
              <a:lnSpc>
                <a:spcPct val="90000"/>
              </a:lnSpc>
              <a:spcBef>
                <a:spcPts val="600"/>
              </a:spcBef>
              <a:spcAft>
                <a:spcPts val="600"/>
              </a:spcAft>
              <a:buClr>
                <a:schemeClr val="tx2"/>
              </a:buClr>
              <a:buFontTx/>
              <a:buNone/>
              <a:tabLst/>
              <a:defRPr sz="1400" b="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Clr>
                <a:schemeClr val="tx2"/>
              </a:buClr>
              <a:buFontTx/>
              <a:buNone/>
              <a:defRPr sz="1800" b="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tx2"/>
              </a:buClr>
              <a:buFontTx/>
              <a:buNone/>
              <a:tabLst/>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E7303A"/>
              </a:buClr>
              <a:buSzPct val="100000"/>
              <a:buFontTx/>
              <a:buNone/>
              <a:tabLst/>
              <a:defRPr/>
            </a:pPr>
            <a:r>
              <a:rPr kumimoji="0" lang="en-GB" sz="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p>
        </p:txBody>
      </p:sp>
      <p:sp>
        <p:nvSpPr>
          <p:cNvPr id="15" name="Tijdelijke aanduiding voor tekst 15">
            <a:extLst>
              <a:ext uri="{FF2B5EF4-FFF2-40B4-BE49-F238E27FC236}">
                <a16:creationId xmlns:a16="http://schemas.microsoft.com/office/drawing/2014/main" id="{AF05859E-28AE-EEC9-1068-559F8073670D}"/>
              </a:ext>
            </a:extLst>
          </p:cNvPr>
          <p:cNvSpPr txBox="1">
            <a:spLocks/>
          </p:cNvSpPr>
          <p:nvPr/>
        </p:nvSpPr>
        <p:spPr>
          <a:xfrm>
            <a:off x="720000" y="6060536"/>
            <a:ext cx="932400" cy="475200"/>
          </a:xfrm>
          <a:prstGeom prst="rect">
            <a:avLst/>
          </a:prstGeom>
          <a:blipFill>
            <a:blip r:embed="rId3"/>
            <a:stretch>
              <a:fillRect/>
            </a:stretch>
          </a:blipFill>
        </p:spPr>
        <p:txBody>
          <a:bodyPr/>
          <a:lstStyle>
            <a:lvl1pPr marL="0" indent="0" algn="l" defTabSz="914400" rtl="0" eaLnBrk="1" latinLnBrk="0" hangingPunct="1">
              <a:lnSpc>
                <a:spcPct val="90000"/>
              </a:lnSpc>
              <a:spcBef>
                <a:spcPts val="600"/>
              </a:spcBef>
              <a:spcAft>
                <a:spcPts val="600"/>
              </a:spcAft>
              <a:buClr>
                <a:schemeClr val="accent4"/>
              </a:buClr>
              <a:buSzPct val="100000"/>
              <a:buFontTx/>
              <a:buNone/>
              <a:defRPr sz="100" kern="1200">
                <a:solidFill>
                  <a:schemeClr val="tx1"/>
                </a:solidFill>
                <a:latin typeface="+mn-lt"/>
                <a:ea typeface="+mn-ea"/>
                <a:cs typeface="+mn-cs"/>
              </a:defRPr>
            </a:lvl1pPr>
            <a:lvl2pPr marL="0" indent="0" algn="l" defTabSz="914400" rtl="0" eaLnBrk="1" latinLnBrk="0" hangingPunct="1">
              <a:lnSpc>
                <a:spcPct val="90000"/>
              </a:lnSpc>
              <a:spcBef>
                <a:spcPts val="600"/>
              </a:spcBef>
              <a:spcAft>
                <a:spcPts val="600"/>
              </a:spcAft>
              <a:buClr>
                <a:schemeClr val="tx2"/>
              </a:buClr>
              <a:buFont typeface="Aptos" panose="020B0004020202020204" pitchFamily="34" charset="0"/>
              <a:buNone/>
              <a:tabLst/>
              <a:defRPr sz="1600" kern="1200">
                <a:solidFill>
                  <a:schemeClr val="tx1"/>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tx2"/>
              </a:buClr>
              <a:buFontTx/>
              <a:buNone/>
              <a:defRPr sz="2000" b="1" kern="1200">
                <a:solidFill>
                  <a:schemeClr val="accent3"/>
                </a:solidFill>
                <a:latin typeface="+mj-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2"/>
                </a:solidFill>
                <a:latin typeface="+mj-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4"/>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5"/>
                </a:solidFill>
                <a:latin typeface="+mj-lt"/>
                <a:ea typeface="+mn-ea"/>
                <a:cs typeface="+mn-cs"/>
              </a:defRPr>
            </a:lvl6pPr>
            <a:lvl7pPr marL="0" indent="0" algn="l" defTabSz="914400" rtl="0" eaLnBrk="1" latinLnBrk="0" hangingPunct="1">
              <a:lnSpc>
                <a:spcPct val="90000"/>
              </a:lnSpc>
              <a:spcBef>
                <a:spcPts val="600"/>
              </a:spcBef>
              <a:spcAft>
                <a:spcPts val="600"/>
              </a:spcAft>
              <a:buClr>
                <a:schemeClr val="tx2"/>
              </a:buClr>
              <a:buFontTx/>
              <a:buNone/>
              <a:tabLst/>
              <a:defRPr sz="1400" b="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Clr>
                <a:schemeClr val="tx2"/>
              </a:buClr>
              <a:buFontTx/>
              <a:buNone/>
              <a:defRPr sz="1800" b="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tx2"/>
              </a:buClr>
              <a:buFontTx/>
              <a:buNone/>
              <a:tabLst/>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E7303A"/>
              </a:buClr>
              <a:buSzPct val="100000"/>
              <a:buFontTx/>
              <a:buNone/>
              <a:tabLst/>
              <a:defRPr/>
            </a:pPr>
            <a:r>
              <a:rPr kumimoji="0" lang="en-GB" sz="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p>
        </p:txBody>
      </p:sp>
    </p:spTree>
    <p:extLst>
      <p:ext uri="{BB962C8B-B14F-4D97-AF65-F5344CB8AC3E}">
        <p14:creationId xmlns:p14="http://schemas.microsoft.com/office/powerpoint/2010/main" val="3588393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7287F9-5FDB-61B8-E517-0F64345A32AB}"/>
            </a:ext>
          </a:extLst>
        </p:cNvPr>
        <p:cNvGrpSpPr/>
        <p:nvPr/>
      </p:nvGrpSpPr>
      <p:grpSpPr>
        <a:xfrm>
          <a:off x="0" y="0"/>
          <a:ext cx="0" cy="0"/>
          <a:chOff x="0" y="0"/>
          <a:chExt cx="0" cy="0"/>
        </a:xfrm>
      </p:grpSpPr>
      <p:sp>
        <p:nvSpPr>
          <p:cNvPr id="11" name="Tijdelijke aanduiding voor tekst 10">
            <a:extLst>
              <a:ext uri="{FF2B5EF4-FFF2-40B4-BE49-F238E27FC236}">
                <a16:creationId xmlns:a16="http://schemas.microsoft.com/office/drawing/2014/main" id="{88E753AE-B443-F976-2628-B15A68ED31FB}"/>
              </a:ext>
            </a:extLst>
          </p:cNvPr>
          <p:cNvSpPr>
            <a:spLocks noGrp="1"/>
          </p:cNvSpPr>
          <p:nvPr>
            <p:ph type="body" sz="quarter" idx="14"/>
          </p:nvPr>
        </p:nvSpPr>
        <p:spPr>
          <a:xfrm>
            <a:off x="720000" y="6060536"/>
            <a:ext cx="932400" cy="475200"/>
          </a:xfrm>
        </p:spPr>
        <p:txBody>
          <a:bodyPr/>
          <a:lstStyle/>
          <a:p>
            <a:r>
              <a:rPr lang="en-GB"/>
              <a:t> </a:t>
            </a:r>
          </a:p>
        </p:txBody>
      </p:sp>
      <p:pic>
        <p:nvPicPr>
          <p:cNvPr id="2" name="Afbeelding 1" descr="Afbeelding met tekst, schermopname&#10;&#10;Door AI gegenereerde inhoud is mogelijk onjuist.">
            <a:extLst>
              <a:ext uri="{FF2B5EF4-FFF2-40B4-BE49-F238E27FC236}">
                <a16:creationId xmlns:a16="http://schemas.microsoft.com/office/drawing/2014/main" id="{9FD757BD-75F7-9F58-E21D-05CBFD6FE01F}"/>
              </a:ext>
            </a:extLst>
          </p:cNvPr>
          <p:cNvPicPr>
            <a:picLocks noChangeAspect="1"/>
          </p:cNvPicPr>
          <p:nvPr/>
        </p:nvPicPr>
        <p:blipFill>
          <a:blip r:embed="rId3"/>
          <a:stretch>
            <a:fillRect/>
          </a:stretch>
        </p:blipFill>
        <p:spPr>
          <a:xfrm>
            <a:off x="79830" y="239523"/>
            <a:ext cx="12113984" cy="6723670"/>
          </a:xfrm>
          <a:prstGeom prst="rect">
            <a:avLst/>
          </a:prstGeom>
        </p:spPr>
      </p:pic>
    </p:spTree>
    <p:extLst>
      <p:ext uri="{BB962C8B-B14F-4D97-AF65-F5344CB8AC3E}">
        <p14:creationId xmlns:p14="http://schemas.microsoft.com/office/powerpoint/2010/main" val="3505010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0C3EB4-40B7-F189-0B38-0625342FA003}"/>
            </a:ext>
          </a:extLst>
        </p:cNvPr>
        <p:cNvGrpSpPr/>
        <p:nvPr/>
      </p:nvGrpSpPr>
      <p:grpSpPr>
        <a:xfrm>
          <a:off x="0" y="0"/>
          <a:ext cx="0" cy="0"/>
          <a:chOff x="0" y="0"/>
          <a:chExt cx="0" cy="0"/>
        </a:xfrm>
      </p:grpSpPr>
      <p:sp>
        <p:nvSpPr>
          <p:cNvPr id="11" name="Tijdelijke aanduiding voor tekst 10">
            <a:extLst>
              <a:ext uri="{FF2B5EF4-FFF2-40B4-BE49-F238E27FC236}">
                <a16:creationId xmlns:a16="http://schemas.microsoft.com/office/drawing/2014/main" id="{734680FE-27A2-6E04-A398-5560D702C26F}"/>
              </a:ext>
            </a:extLst>
          </p:cNvPr>
          <p:cNvSpPr>
            <a:spLocks noGrp="1"/>
          </p:cNvSpPr>
          <p:nvPr>
            <p:ph type="body" sz="quarter" idx="14"/>
          </p:nvPr>
        </p:nvSpPr>
        <p:spPr>
          <a:xfrm>
            <a:off x="720000" y="6060536"/>
            <a:ext cx="932400" cy="475200"/>
          </a:xfrm>
        </p:spPr>
        <p:txBody>
          <a:bodyPr/>
          <a:lstStyle/>
          <a:p>
            <a:r>
              <a:rPr lang="en-GB"/>
              <a:t> </a:t>
            </a:r>
          </a:p>
        </p:txBody>
      </p:sp>
      <p:pic>
        <p:nvPicPr>
          <p:cNvPr id="4" name="Afbeelding 3" descr="Afbeelding met tekst, schermopname, tekenfilm&#10;&#10;Door AI gegenereerde inhoud is mogelijk onjuist.">
            <a:extLst>
              <a:ext uri="{FF2B5EF4-FFF2-40B4-BE49-F238E27FC236}">
                <a16:creationId xmlns:a16="http://schemas.microsoft.com/office/drawing/2014/main" id="{5DB3EB4F-F38F-7E82-B3DF-373BE2DE0FBA}"/>
              </a:ext>
            </a:extLst>
          </p:cNvPr>
          <p:cNvPicPr>
            <a:picLocks noChangeAspect="1"/>
          </p:cNvPicPr>
          <p:nvPr/>
        </p:nvPicPr>
        <p:blipFill>
          <a:blip r:embed="rId3"/>
          <a:stretch>
            <a:fillRect/>
          </a:stretch>
        </p:blipFill>
        <p:spPr>
          <a:xfrm>
            <a:off x="3353707" y="-2495"/>
            <a:ext cx="8006443" cy="7008133"/>
          </a:xfrm>
          <a:prstGeom prst="rect">
            <a:avLst/>
          </a:prstGeom>
        </p:spPr>
      </p:pic>
      <p:sp>
        <p:nvSpPr>
          <p:cNvPr id="6" name="Tekstvak 5">
            <a:extLst>
              <a:ext uri="{FF2B5EF4-FFF2-40B4-BE49-F238E27FC236}">
                <a16:creationId xmlns:a16="http://schemas.microsoft.com/office/drawing/2014/main" id="{406D82AE-919F-2AD2-D01D-EA99744247F2}"/>
              </a:ext>
            </a:extLst>
          </p:cNvPr>
          <p:cNvSpPr txBox="1"/>
          <p:nvPr/>
        </p:nvSpPr>
        <p:spPr>
          <a:xfrm>
            <a:off x="573974" y="702622"/>
            <a:ext cx="6986648" cy="22373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lnSpc>
                <a:spcPct val="90000"/>
              </a:lnSpc>
              <a:spcBef>
                <a:spcPts val="600"/>
              </a:spcBef>
              <a:spcAft>
                <a:spcPts val="600"/>
              </a:spcAft>
              <a:buFont typeface="Arial"/>
              <a:buChar char="•"/>
            </a:pPr>
            <a:r>
              <a:rPr lang="en-GB" sz="3200"/>
              <a:t>No shared identifier</a:t>
            </a:r>
            <a:endParaRPr lang="nl-NL" sz="3200"/>
          </a:p>
          <a:p>
            <a:pPr marL="285750" indent="-285750">
              <a:lnSpc>
                <a:spcPct val="90000"/>
              </a:lnSpc>
              <a:spcBef>
                <a:spcPts val="600"/>
              </a:spcBef>
              <a:spcAft>
                <a:spcPts val="600"/>
              </a:spcAft>
              <a:buFont typeface="Arial"/>
              <a:buChar char="•"/>
            </a:pPr>
            <a:r>
              <a:rPr lang="en-GB" sz="3200"/>
              <a:t>Student in control</a:t>
            </a:r>
          </a:p>
          <a:p>
            <a:pPr marL="285750" indent="-285750">
              <a:lnSpc>
                <a:spcPct val="90000"/>
              </a:lnSpc>
              <a:spcBef>
                <a:spcPts val="600"/>
              </a:spcBef>
              <a:spcAft>
                <a:spcPts val="600"/>
              </a:spcAft>
              <a:buFont typeface="Arial"/>
              <a:buChar char="•"/>
            </a:pPr>
            <a:r>
              <a:rPr lang="en-GB" sz="3200"/>
              <a:t>Authentication at home institution</a:t>
            </a:r>
          </a:p>
          <a:p>
            <a:pPr marL="285750" indent="-285750">
              <a:lnSpc>
                <a:spcPct val="90000"/>
              </a:lnSpc>
              <a:spcBef>
                <a:spcPts val="600"/>
              </a:spcBef>
              <a:spcAft>
                <a:spcPts val="600"/>
              </a:spcAft>
              <a:buFont typeface="Arial"/>
              <a:buChar char="•"/>
            </a:pPr>
            <a:r>
              <a:rPr lang="en-GB" sz="3200"/>
              <a:t>Business logic at both institutions</a:t>
            </a:r>
          </a:p>
        </p:txBody>
      </p:sp>
    </p:spTree>
    <p:extLst>
      <p:ext uri="{BB962C8B-B14F-4D97-AF65-F5344CB8AC3E}">
        <p14:creationId xmlns:p14="http://schemas.microsoft.com/office/powerpoint/2010/main" val="4291706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808897-4C01-A298-5288-2D389A152115}"/>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F1C52D02-E674-457F-7AC4-D57329D8D92D}"/>
              </a:ext>
            </a:extLst>
          </p:cNvPr>
          <p:cNvSpPr>
            <a:spLocks noGrp="1"/>
          </p:cNvSpPr>
          <p:nvPr>
            <p:ph type="body" orient="vert" idx="1"/>
          </p:nvPr>
        </p:nvSpPr>
        <p:spPr/>
        <p:txBody>
          <a:bodyPr vert="horz" lIns="0" tIns="0" rIns="0" bIns="0" rtlCol="0" anchor="t">
            <a:noAutofit/>
          </a:bodyPr>
          <a:lstStyle/>
          <a:p>
            <a:pPr marL="0" indent="0">
              <a:buClrTx/>
              <a:buNone/>
            </a:pPr>
            <a:r>
              <a:rPr lang="en-US" sz="2400" b="1">
                <a:ea typeface="+mn-lt"/>
                <a:cs typeface="+mn-lt"/>
              </a:rPr>
              <a:t>To allow the peer-to-peer approach between home and host university, all partners needed to build:</a:t>
            </a:r>
          </a:p>
          <a:p>
            <a:pPr marL="0" indent="0">
              <a:buClrTx/>
              <a:buNone/>
            </a:pPr>
            <a:endParaRPr lang="en-US" sz="2400" b="1">
              <a:ea typeface="+mn-lt"/>
              <a:cs typeface="+mn-lt"/>
            </a:endParaRPr>
          </a:p>
          <a:p>
            <a:pPr marL="285750" indent="-285750">
              <a:buClrTx/>
              <a:buFont typeface="Arial" panose="020B0604020202020204" pitchFamily="34" charset="0"/>
              <a:buChar char="•"/>
            </a:pPr>
            <a:r>
              <a:rPr lang="en-US" sz="2400">
                <a:ea typeface="+mn-lt"/>
                <a:cs typeface="+mn-lt"/>
              </a:rPr>
              <a:t>Additional</a:t>
            </a:r>
            <a:r>
              <a:rPr lang="en-US" sz="2400" b="1">
                <a:ea typeface="+mn-lt"/>
                <a:cs typeface="+mn-lt"/>
              </a:rPr>
              <a:t> OOAPI endpoints </a:t>
            </a:r>
            <a:r>
              <a:rPr lang="en-US" sz="2400">
                <a:ea typeface="+mn-lt"/>
                <a:cs typeface="+mn-lt"/>
              </a:rPr>
              <a:t>to handle data relating to students and their desired enrolment</a:t>
            </a:r>
            <a:endParaRPr lang="en-US" sz="2400">
              <a:latin typeface="Calibri Light"/>
              <a:ea typeface="Calibri Light"/>
              <a:cs typeface="Calibri Light"/>
            </a:endParaRPr>
          </a:p>
          <a:p>
            <a:pPr>
              <a:buClrTx/>
            </a:pPr>
            <a:r>
              <a:rPr lang="en-US" sz="2400">
                <a:ea typeface="+mn-lt"/>
                <a:cs typeface="+mn-lt"/>
              </a:rPr>
              <a:t>Protect these endpoints using </a:t>
            </a:r>
            <a:r>
              <a:rPr lang="en-US" sz="2400" err="1">
                <a:ea typeface="+mn-lt"/>
                <a:cs typeface="+mn-lt"/>
              </a:rPr>
              <a:t>oauth</a:t>
            </a:r>
            <a:r>
              <a:rPr lang="en-US" sz="2400">
                <a:ea typeface="+mn-lt"/>
                <a:cs typeface="+mn-lt"/>
              </a:rPr>
              <a:t> + </a:t>
            </a:r>
            <a:r>
              <a:rPr lang="en-US" sz="2400" err="1">
                <a:ea typeface="+mn-lt"/>
                <a:cs typeface="+mn-lt"/>
              </a:rPr>
              <a:t>MyAcademicID</a:t>
            </a:r>
            <a:endParaRPr lang="en-US" sz="2400" err="1">
              <a:latin typeface="Calibri Light"/>
              <a:ea typeface="Calibri Light"/>
              <a:cs typeface="Calibri Light"/>
            </a:endParaRPr>
          </a:p>
          <a:p>
            <a:pPr>
              <a:buClrTx/>
            </a:pPr>
            <a:r>
              <a:rPr lang="en-US" sz="2400">
                <a:ea typeface="+mn-lt"/>
                <a:cs typeface="+mn-lt"/>
              </a:rPr>
              <a:t>Their own </a:t>
            </a:r>
            <a:r>
              <a:rPr lang="en-US" sz="2400" b="1">
                <a:ea typeface="+mn-lt"/>
                <a:cs typeface="+mn-lt"/>
              </a:rPr>
              <a:t>‘enrolment receiver’ </a:t>
            </a:r>
            <a:r>
              <a:rPr lang="en-US" sz="2400">
                <a:ea typeface="+mn-lt"/>
                <a:cs typeface="+mn-lt"/>
              </a:rPr>
              <a:t>module, which handles applications for enrolment via the </a:t>
            </a:r>
            <a:r>
              <a:rPr lang="en-US" sz="2400" err="1">
                <a:ea typeface="+mn-lt"/>
                <a:cs typeface="+mn-lt"/>
              </a:rPr>
              <a:t>edubroker</a:t>
            </a:r>
            <a:endParaRPr lang="en-US" sz="2400">
              <a:latin typeface="Calibri Light"/>
              <a:ea typeface="Calibri Light"/>
              <a:cs typeface="Calibri Light"/>
            </a:endParaRPr>
          </a:p>
          <a:p>
            <a:pPr marL="0" indent="0">
              <a:buClrTx/>
              <a:buNone/>
            </a:pPr>
            <a:endParaRPr lang="en-US" sz="2000" b="1">
              <a:ea typeface="+mn-lt"/>
              <a:cs typeface="+mn-lt"/>
            </a:endParaRPr>
          </a:p>
        </p:txBody>
      </p:sp>
      <p:sp>
        <p:nvSpPr>
          <p:cNvPr id="3" name="Tijdelijke aanduiding voor tekst 2">
            <a:extLst>
              <a:ext uri="{FF2B5EF4-FFF2-40B4-BE49-F238E27FC236}">
                <a16:creationId xmlns:a16="http://schemas.microsoft.com/office/drawing/2014/main" id="{EF1B2744-7891-6EA3-2F97-B3D75532A937}"/>
              </a:ext>
            </a:extLst>
          </p:cNvPr>
          <p:cNvSpPr>
            <a:spLocks noGrp="1"/>
          </p:cNvSpPr>
          <p:nvPr>
            <p:ph type="body" sz="quarter" idx="14"/>
          </p:nvPr>
        </p:nvSpPr>
        <p:spPr/>
        <p:txBody>
          <a:bodyPr/>
          <a:lstStyle/>
          <a:p>
            <a:endParaRPr lang="en-NL"/>
          </a:p>
        </p:txBody>
      </p:sp>
      <p:sp>
        <p:nvSpPr>
          <p:cNvPr id="4" name="Tijdelijke aanduiding voor tekst 3">
            <a:extLst>
              <a:ext uri="{FF2B5EF4-FFF2-40B4-BE49-F238E27FC236}">
                <a16:creationId xmlns:a16="http://schemas.microsoft.com/office/drawing/2014/main" id="{11BEC1DB-BB62-0C27-9B81-82BBE470EAAF}"/>
              </a:ext>
            </a:extLst>
          </p:cNvPr>
          <p:cNvSpPr>
            <a:spLocks noGrp="1"/>
          </p:cNvSpPr>
          <p:nvPr>
            <p:ph type="body" sz="quarter" idx="18"/>
          </p:nvPr>
        </p:nvSpPr>
        <p:spPr/>
        <p:txBody>
          <a:bodyPr/>
          <a:lstStyle/>
          <a:p>
            <a:endParaRPr lang="en-NL"/>
          </a:p>
        </p:txBody>
      </p:sp>
      <p:sp>
        <p:nvSpPr>
          <p:cNvPr id="5" name="Titel 4">
            <a:extLst>
              <a:ext uri="{FF2B5EF4-FFF2-40B4-BE49-F238E27FC236}">
                <a16:creationId xmlns:a16="http://schemas.microsoft.com/office/drawing/2014/main" id="{9E7ECF2A-A581-2FBF-7CBB-72D3BFA33710}"/>
              </a:ext>
            </a:extLst>
          </p:cNvPr>
          <p:cNvSpPr>
            <a:spLocks noGrp="1"/>
          </p:cNvSpPr>
          <p:nvPr>
            <p:ph type="title"/>
          </p:nvPr>
        </p:nvSpPr>
        <p:spPr/>
        <p:txBody>
          <a:bodyPr/>
          <a:lstStyle/>
          <a:p>
            <a:r>
              <a:rPr lang="en-US">
                <a:latin typeface="Roboto"/>
                <a:ea typeface="Roboto"/>
                <a:cs typeface="Roboto"/>
              </a:rPr>
              <a:t>Automating enrolment</a:t>
            </a:r>
            <a:endParaRPr lang="en-NL">
              <a:latin typeface="Roboto" panose="02000000000000000000" pitchFamily="2" charset="0"/>
              <a:ea typeface="Roboto" panose="02000000000000000000" pitchFamily="2" charset="0"/>
              <a:cs typeface="Roboto" panose="02000000000000000000" pitchFamily="2" charset="0"/>
            </a:endParaRPr>
          </a:p>
        </p:txBody>
      </p:sp>
      <p:pic>
        <p:nvPicPr>
          <p:cNvPr id="14" name="Afbeelding 13" descr="Afbeelding met Lettertype, schermopname, Graphics, zwart&#10;&#10;Automatisch gegenereerde beschrijving">
            <a:extLst>
              <a:ext uri="{FF2B5EF4-FFF2-40B4-BE49-F238E27FC236}">
                <a16:creationId xmlns:a16="http://schemas.microsoft.com/office/drawing/2014/main" id="{CED3387A-C709-2CED-3399-6B9ADDFD9E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48361" y="2617285"/>
            <a:ext cx="2685565" cy="1101082"/>
          </a:xfrm>
          <a:prstGeom prst="rect">
            <a:avLst/>
          </a:prstGeom>
          <a:effectLst>
            <a:outerShdw blurRad="50800" dist="38100" dir="2700000">
              <a:srgbClr val="000000">
                <a:alpha val="40000"/>
              </a:srgbClr>
            </a:outerShdw>
          </a:effectLst>
        </p:spPr>
      </p:pic>
      <p:pic>
        <p:nvPicPr>
          <p:cNvPr id="8" name="Afbeelding 7" descr="MyAcademicID | Developing a European Student eID scheme for Higher Education">
            <a:extLst>
              <a:ext uri="{FF2B5EF4-FFF2-40B4-BE49-F238E27FC236}">
                <a16:creationId xmlns:a16="http://schemas.microsoft.com/office/drawing/2014/main" id="{A9114956-BFB1-2D92-009E-57DB8792CE27}"/>
              </a:ext>
            </a:extLst>
          </p:cNvPr>
          <p:cNvPicPr>
            <a:picLocks noChangeAspect="1"/>
          </p:cNvPicPr>
          <p:nvPr/>
        </p:nvPicPr>
        <p:blipFill>
          <a:blip r:embed="rId3"/>
          <a:stretch>
            <a:fillRect/>
          </a:stretch>
        </p:blipFill>
        <p:spPr>
          <a:xfrm>
            <a:off x="9035971" y="4228001"/>
            <a:ext cx="2743198" cy="813390"/>
          </a:xfrm>
          <a:prstGeom prst="rect">
            <a:avLst/>
          </a:prstGeom>
        </p:spPr>
      </p:pic>
      <p:pic>
        <p:nvPicPr>
          <p:cNvPr id="6" name="Afbeelding 5" descr="Promotional materials – eduGAIN">
            <a:extLst>
              <a:ext uri="{FF2B5EF4-FFF2-40B4-BE49-F238E27FC236}">
                <a16:creationId xmlns:a16="http://schemas.microsoft.com/office/drawing/2014/main" id="{EDFC76FA-1284-E4E2-9B98-146AF32D6337}"/>
              </a:ext>
            </a:extLst>
          </p:cNvPr>
          <p:cNvPicPr>
            <a:picLocks noChangeAspect="1"/>
          </p:cNvPicPr>
          <p:nvPr/>
        </p:nvPicPr>
        <p:blipFill>
          <a:blip r:embed="rId4"/>
          <a:stretch>
            <a:fillRect/>
          </a:stretch>
        </p:blipFill>
        <p:spPr>
          <a:xfrm>
            <a:off x="8215979" y="5648889"/>
            <a:ext cx="2415485" cy="527690"/>
          </a:xfrm>
          <a:prstGeom prst="rect">
            <a:avLst/>
          </a:prstGeom>
        </p:spPr>
      </p:pic>
      <p:pic>
        <p:nvPicPr>
          <p:cNvPr id="9" name="Afbeelding 8" descr="Afbeelding met Lettertype, Graphics, grafische vormgeving, tekst&#10;&#10;Door AI gegenereerde inhoud is mogelijk onjuist.">
            <a:extLst>
              <a:ext uri="{FF2B5EF4-FFF2-40B4-BE49-F238E27FC236}">
                <a16:creationId xmlns:a16="http://schemas.microsoft.com/office/drawing/2014/main" id="{18338F3A-F71B-A748-D032-81F60030E95B}"/>
              </a:ext>
            </a:extLst>
          </p:cNvPr>
          <p:cNvPicPr>
            <a:picLocks noChangeAspect="1"/>
          </p:cNvPicPr>
          <p:nvPr/>
        </p:nvPicPr>
        <p:blipFill>
          <a:blip r:embed="rId5"/>
          <a:stretch>
            <a:fillRect/>
          </a:stretch>
        </p:blipFill>
        <p:spPr>
          <a:xfrm>
            <a:off x="9399741" y="1518213"/>
            <a:ext cx="2061292" cy="1093122"/>
          </a:xfrm>
          <a:prstGeom prst="rect">
            <a:avLst/>
          </a:prstGeom>
        </p:spPr>
      </p:pic>
      <p:pic>
        <p:nvPicPr>
          <p:cNvPr id="10" name="Afbeelding 9" descr="Afbeelding met tekst, Lettertype, schermopname, logo&#10;&#10;Door AI gegenereerde inhoud is mogelijk onjuist.">
            <a:extLst>
              <a:ext uri="{FF2B5EF4-FFF2-40B4-BE49-F238E27FC236}">
                <a16:creationId xmlns:a16="http://schemas.microsoft.com/office/drawing/2014/main" id="{4CEEB2DB-6BFF-4DDD-5275-1EE002778DCC}"/>
              </a:ext>
            </a:extLst>
          </p:cNvPr>
          <p:cNvPicPr>
            <a:picLocks noChangeAspect="1"/>
          </p:cNvPicPr>
          <p:nvPr/>
        </p:nvPicPr>
        <p:blipFill>
          <a:blip r:embed="rId6"/>
          <a:stretch>
            <a:fillRect/>
          </a:stretch>
        </p:blipFill>
        <p:spPr>
          <a:xfrm>
            <a:off x="9669019" y="684315"/>
            <a:ext cx="2009775" cy="523875"/>
          </a:xfrm>
          <a:prstGeom prst="rect">
            <a:avLst/>
          </a:prstGeom>
        </p:spPr>
      </p:pic>
    </p:spTree>
    <p:extLst>
      <p:ext uri="{BB962C8B-B14F-4D97-AF65-F5344CB8AC3E}">
        <p14:creationId xmlns:p14="http://schemas.microsoft.com/office/powerpoint/2010/main" val="3817895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610A65-A247-1D7D-9DB0-30C99F9822AC}"/>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72787F54-3539-C1AA-3033-E0FD9791CD8A}"/>
              </a:ext>
            </a:extLst>
          </p:cNvPr>
          <p:cNvSpPr>
            <a:spLocks noGrp="1"/>
          </p:cNvSpPr>
          <p:nvPr>
            <p:ph type="title"/>
          </p:nvPr>
        </p:nvSpPr>
        <p:spPr/>
        <p:txBody>
          <a:bodyPr/>
          <a:lstStyle/>
          <a:p>
            <a:r>
              <a:rPr lang="en-GB"/>
              <a:t>Chapter green</a:t>
            </a:r>
          </a:p>
        </p:txBody>
      </p:sp>
      <p:sp>
        <p:nvSpPr>
          <p:cNvPr id="6" name="Tijdelijke aanduiding voor tekst 10">
            <a:extLst>
              <a:ext uri="{FF2B5EF4-FFF2-40B4-BE49-F238E27FC236}">
                <a16:creationId xmlns:a16="http://schemas.microsoft.com/office/drawing/2014/main" id="{25E7F595-666F-7D38-37BB-573C6645CD1B}"/>
              </a:ext>
            </a:extLst>
          </p:cNvPr>
          <p:cNvSpPr txBox="1">
            <a:spLocks/>
          </p:cNvSpPr>
          <p:nvPr/>
        </p:nvSpPr>
        <p:spPr>
          <a:xfrm>
            <a:off x="193040" y="216852"/>
            <a:ext cx="11805920" cy="6424295"/>
          </a:xfrm>
          <a:prstGeom prst="roundRect">
            <a:avLst>
              <a:gd name="adj" fmla="val 3563"/>
            </a:avLst>
          </a:prstGeom>
          <a:solidFill>
            <a:schemeClr val="accent4"/>
          </a:solidFill>
        </p:spPr>
        <p:txBody>
          <a:bodyPr wrap="square">
            <a:noAutofit/>
          </a:bodyPr>
          <a:lstStyle>
            <a:lvl1pPr marL="0" indent="0" algn="l" defTabSz="914400" rtl="0" eaLnBrk="1" latinLnBrk="0" hangingPunct="1">
              <a:lnSpc>
                <a:spcPct val="90000"/>
              </a:lnSpc>
              <a:spcBef>
                <a:spcPts val="600"/>
              </a:spcBef>
              <a:spcAft>
                <a:spcPts val="600"/>
              </a:spcAft>
              <a:buClr>
                <a:schemeClr val="accent1"/>
              </a:buClr>
              <a:buSzPct val="110000"/>
              <a:buFont typeface="Aptos" panose="020B0004020202020204" pitchFamily="34" charset="0"/>
              <a:buNone/>
              <a:defRPr sz="100" kern="1200">
                <a:solidFill>
                  <a:schemeClr val="tx1"/>
                </a:solidFill>
                <a:latin typeface="+mn-lt"/>
                <a:ea typeface="+mn-ea"/>
                <a:cs typeface="+mn-cs"/>
              </a:defRPr>
            </a:lvl1pPr>
            <a:lvl2pPr marL="355600" indent="-177800" algn="l" defTabSz="914400" rtl="0" eaLnBrk="1" latinLnBrk="0" hangingPunct="1">
              <a:lnSpc>
                <a:spcPct val="90000"/>
              </a:lnSpc>
              <a:spcBef>
                <a:spcPts val="600"/>
              </a:spcBef>
              <a:spcAft>
                <a:spcPts val="600"/>
              </a:spcAft>
              <a:buClr>
                <a:schemeClr val="tx2"/>
              </a:buClr>
              <a:buFont typeface="Aptos" panose="020B0004020202020204" pitchFamily="34" charset="0"/>
              <a:buChar char="•"/>
              <a:tabLst/>
              <a:defRPr sz="1600" kern="1200">
                <a:solidFill>
                  <a:schemeClr val="tx1"/>
                </a:solidFill>
                <a:latin typeface="+mn-lt"/>
                <a:ea typeface="+mn-ea"/>
                <a:cs typeface="+mn-cs"/>
              </a:defRPr>
            </a:lvl2pPr>
            <a:lvl3pPr marL="531813" indent="-176213"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1600" kern="1200">
                <a:solidFill>
                  <a:schemeClr val="tx1"/>
                </a:solidFill>
                <a:latin typeface="+mn-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5"/>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2"/>
                </a:solidFill>
                <a:latin typeface="+mj-lt"/>
                <a:ea typeface="+mn-ea"/>
                <a:cs typeface="+mn-cs"/>
              </a:defRPr>
            </a:lvl6pPr>
            <a:lvl7pPr marL="342900" indent="-342900" algn="l" defTabSz="914400" rtl="0" eaLnBrk="1" latinLnBrk="0" hangingPunct="1">
              <a:lnSpc>
                <a:spcPct val="90000"/>
              </a:lnSpc>
              <a:spcBef>
                <a:spcPts val="600"/>
              </a:spcBef>
              <a:spcAft>
                <a:spcPts val="600"/>
              </a:spcAft>
              <a:buClr>
                <a:schemeClr val="tx2"/>
              </a:buClr>
              <a:buFont typeface="+mj-lt"/>
              <a:buAutoNum type="arabicPeriod"/>
              <a:tabLst/>
              <a:defRPr sz="1600" kern="1200">
                <a:solidFill>
                  <a:schemeClr val="tx1"/>
                </a:solidFill>
                <a:latin typeface="+mn-lt"/>
                <a:ea typeface="+mn-ea"/>
                <a:cs typeface="+mn-cs"/>
              </a:defRPr>
            </a:lvl7pPr>
            <a:lvl8pPr marL="342900" indent="-342900" algn="l" defTabSz="914400" rtl="0" eaLnBrk="1" latinLnBrk="0" hangingPunct="1">
              <a:lnSpc>
                <a:spcPct val="90000"/>
              </a:lnSpc>
              <a:spcBef>
                <a:spcPts val="600"/>
              </a:spcBef>
              <a:spcAft>
                <a:spcPts val="600"/>
              </a:spcAft>
              <a:buClr>
                <a:schemeClr val="tx2"/>
              </a:buClr>
              <a:buFont typeface="+mj-lt"/>
              <a:buAutoNum type="alphaLcPeriod"/>
              <a:defRPr sz="1600" kern="1200">
                <a:solidFill>
                  <a:schemeClr val="tx1"/>
                </a:solidFill>
                <a:latin typeface="+mn-lt"/>
                <a:ea typeface="+mn-ea"/>
                <a:cs typeface="+mn-cs"/>
              </a:defRPr>
            </a:lvl8pPr>
            <a:lvl9pPr marL="541338" indent="-180975"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F6DA44"/>
              </a:buClr>
              <a:buSzPct val="110000"/>
              <a:buFont typeface="Aptos" panose="020B0004020202020204" pitchFamily="34" charset="0"/>
              <a:buNone/>
              <a:tabLst/>
              <a:defRPr/>
            </a:pPr>
            <a:r>
              <a:rPr kumimoji="0" lang="en-GB" sz="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p>
        </p:txBody>
      </p:sp>
      <p:sp>
        <p:nvSpPr>
          <p:cNvPr id="10" name="Tekstvak 9">
            <a:extLst>
              <a:ext uri="{FF2B5EF4-FFF2-40B4-BE49-F238E27FC236}">
                <a16:creationId xmlns:a16="http://schemas.microsoft.com/office/drawing/2014/main" id="{44DAB573-C3F6-E94A-495A-C642AB40AD88}"/>
              </a:ext>
            </a:extLst>
          </p:cNvPr>
          <p:cNvSpPr txBox="1"/>
          <p:nvPr/>
        </p:nvSpPr>
        <p:spPr>
          <a:xfrm>
            <a:off x="902978" y="2987073"/>
            <a:ext cx="9693303" cy="940292"/>
          </a:xfrm>
          <a:prstGeom prst="rect">
            <a:avLst/>
          </a:prstGeom>
          <a:noFill/>
        </p:spPr>
        <p:txBody>
          <a:bodyPr wrap="square" lIns="0" tIns="0" rIns="0" bIns="0" rtlCol="0" anchor="b">
            <a:noAutofit/>
          </a:bodyPr>
          <a:lstStyle/>
          <a:p>
            <a:pPr>
              <a:lnSpc>
                <a:spcPct val="80000"/>
              </a:lnSpc>
              <a:defRPr/>
            </a:pPr>
            <a:r>
              <a:rPr lang="en-GB" sz="6600" b="1">
                <a:solidFill>
                  <a:srgbClr val="FFFFFF"/>
                </a:solidFill>
              </a:rPr>
              <a:t>Organising</a:t>
            </a:r>
            <a:endParaRPr lang="nl-NL">
              <a:ea typeface="+mn-ea"/>
              <a:cs typeface="+mn-cs"/>
            </a:endParaRPr>
          </a:p>
        </p:txBody>
      </p:sp>
      <p:sp>
        <p:nvSpPr>
          <p:cNvPr id="11" name="Tijdelijke aanduiding voor tekst 12">
            <a:extLst>
              <a:ext uri="{FF2B5EF4-FFF2-40B4-BE49-F238E27FC236}">
                <a16:creationId xmlns:a16="http://schemas.microsoft.com/office/drawing/2014/main" id="{F91C71E5-CDA6-117D-2881-2EFBAB973CBB}"/>
              </a:ext>
            </a:extLst>
          </p:cNvPr>
          <p:cNvSpPr txBox="1">
            <a:spLocks/>
          </p:cNvSpPr>
          <p:nvPr/>
        </p:nvSpPr>
        <p:spPr>
          <a:xfrm>
            <a:off x="708207" y="3123000"/>
            <a:ext cx="36000" cy="612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lgn="l" defTabSz="914400" rtl="0" eaLnBrk="1" latinLnBrk="0" hangingPunct="1">
              <a:lnSpc>
                <a:spcPct val="90000"/>
              </a:lnSpc>
              <a:spcBef>
                <a:spcPts val="600"/>
              </a:spcBef>
              <a:spcAft>
                <a:spcPts val="600"/>
              </a:spcAft>
              <a:buClr>
                <a:schemeClr val="accent4"/>
              </a:buClr>
              <a:buSzPct val="100000"/>
              <a:buFontTx/>
              <a:buNone/>
              <a:defRPr sz="100" kern="1200">
                <a:solidFill>
                  <a:schemeClr val="tx1"/>
                </a:solidFill>
                <a:latin typeface="+mn-lt"/>
                <a:ea typeface="+mn-ea"/>
                <a:cs typeface="+mn-cs"/>
              </a:defRPr>
            </a:lvl1pPr>
            <a:lvl2pPr marL="0" indent="0" algn="l" defTabSz="914400" rtl="0" eaLnBrk="1" latinLnBrk="0" hangingPunct="1">
              <a:lnSpc>
                <a:spcPct val="90000"/>
              </a:lnSpc>
              <a:spcBef>
                <a:spcPts val="600"/>
              </a:spcBef>
              <a:spcAft>
                <a:spcPts val="600"/>
              </a:spcAft>
              <a:buClr>
                <a:schemeClr val="tx2"/>
              </a:buClr>
              <a:buFont typeface="Aptos" panose="020B0004020202020204" pitchFamily="34" charset="0"/>
              <a:buNone/>
              <a:tabLst/>
              <a:defRPr sz="1600" kern="1200">
                <a:solidFill>
                  <a:schemeClr val="tx1"/>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tx2"/>
              </a:buClr>
              <a:buFontTx/>
              <a:buNone/>
              <a:defRPr sz="2000" b="1" kern="1200">
                <a:solidFill>
                  <a:schemeClr val="accent3"/>
                </a:solidFill>
                <a:latin typeface="+mj-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2"/>
                </a:solidFill>
                <a:latin typeface="+mj-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4"/>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5"/>
                </a:solidFill>
                <a:latin typeface="+mj-lt"/>
                <a:ea typeface="+mn-ea"/>
                <a:cs typeface="+mn-cs"/>
              </a:defRPr>
            </a:lvl6pPr>
            <a:lvl7pPr marL="0" indent="0" algn="l" defTabSz="914400" rtl="0" eaLnBrk="1" latinLnBrk="0" hangingPunct="1">
              <a:lnSpc>
                <a:spcPct val="90000"/>
              </a:lnSpc>
              <a:spcBef>
                <a:spcPts val="600"/>
              </a:spcBef>
              <a:spcAft>
                <a:spcPts val="600"/>
              </a:spcAft>
              <a:buClr>
                <a:schemeClr val="tx2"/>
              </a:buClr>
              <a:buFontTx/>
              <a:buNone/>
              <a:tabLst/>
              <a:defRPr sz="1400" b="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Clr>
                <a:schemeClr val="tx2"/>
              </a:buClr>
              <a:buFontTx/>
              <a:buNone/>
              <a:defRPr sz="1800" b="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tx2"/>
              </a:buClr>
              <a:buFontTx/>
              <a:buNone/>
              <a:tabLst/>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E7303A"/>
              </a:buClr>
              <a:buSzPct val="100000"/>
              <a:buFontTx/>
              <a:buNone/>
              <a:tabLst/>
              <a:defRPr/>
            </a:pPr>
            <a:r>
              <a:rPr kumimoji="0" lang="en-GB" sz="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p>
        </p:txBody>
      </p:sp>
      <p:sp>
        <p:nvSpPr>
          <p:cNvPr id="15" name="Tijdelijke aanduiding voor tekst 15">
            <a:extLst>
              <a:ext uri="{FF2B5EF4-FFF2-40B4-BE49-F238E27FC236}">
                <a16:creationId xmlns:a16="http://schemas.microsoft.com/office/drawing/2014/main" id="{29DD6573-DAEC-114E-0BE5-C95FD0F73DF8}"/>
              </a:ext>
            </a:extLst>
          </p:cNvPr>
          <p:cNvSpPr txBox="1">
            <a:spLocks/>
          </p:cNvSpPr>
          <p:nvPr/>
        </p:nvSpPr>
        <p:spPr>
          <a:xfrm>
            <a:off x="720000" y="6060536"/>
            <a:ext cx="932400" cy="475200"/>
          </a:xfrm>
          <a:prstGeom prst="rect">
            <a:avLst/>
          </a:prstGeom>
          <a:blipFill>
            <a:blip r:embed="rId3"/>
            <a:stretch>
              <a:fillRect/>
            </a:stretch>
          </a:blipFill>
        </p:spPr>
        <p:txBody>
          <a:bodyPr/>
          <a:lstStyle>
            <a:lvl1pPr marL="0" indent="0" algn="l" defTabSz="914400" rtl="0" eaLnBrk="1" latinLnBrk="0" hangingPunct="1">
              <a:lnSpc>
                <a:spcPct val="90000"/>
              </a:lnSpc>
              <a:spcBef>
                <a:spcPts val="600"/>
              </a:spcBef>
              <a:spcAft>
                <a:spcPts val="600"/>
              </a:spcAft>
              <a:buClr>
                <a:schemeClr val="accent4"/>
              </a:buClr>
              <a:buSzPct val="100000"/>
              <a:buFontTx/>
              <a:buNone/>
              <a:defRPr sz="100" kern="1200">
                <a:solidFill>
                  <a:schemeClr val="tx1"/>
                </a:solidFill>
                <a:latin typeface="+mn-lt"/>
                <a:ea typeface="+mn-ea"/>
                <a:cs typeface="+mn-cs"/>
              </a:defRPr>
            </a:lvl1pPr>
            <a:lvl2pPr marL="0" indent="0" algn="l" defTabSz="914400" rtl="0" eaLnBrk="1" latinLnBrk="0" hangingPunct="1">
              <a:lnSpc>
                <a:spcPct val="90000"/>
              </a:lnSpc>
              <a:spcBef>
                <a:spcPts val="600"/>
              </a:spcBef>
              <a:spcAft>
                <a:spcPts val="600"/>
              </a:spcAft>
              <a:buClr>
                <a:schemeClr val="tx2"/>
              </a:buClr>
              <a:buFont typeface="Aptos" panose="020B0004020202020204" pitchFamily="34" charset="0"/>
              <a:buNone/>
              <a:tabLst/>
              <a:defRPr sz="1600" kern="1200">
                <a:solidFill>
                  <a:schemeClr val="tx1"/>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tx2"/>
              </a:buClr>
              <a:buFontTx/>
              <a:buNone/>
              <a:defRPr sz="2000" b="1" kern="1200">
                <a:solidFill>
                  <a:schemeClr val="accent3"/>
                </a:solidFill>
                <a:latin typeface="+mj-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2"/>
                </a:solidFill>
                <a:latin typeface="+mj-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4"/>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5"/>
                </a:solidFill>
                <a:latin typeface="+mj-lt"/>
                <a:ea typeface="+mn-ea"/>
                <a:cs typeface="+mn-cs"/>
              </a:defRPr>
            </a:lvl6pPr>
            <a:lvl7pPr marL="0" indent="0" algn="l" defTabSz="914400" rtl="0" eaLnBrk="1" latinLnBrk="0" hangingPunct="1">
              <a:lnSpc>
                <a:spcPct val="90000"/>
              </a:lnSpc>
              <a:spcBef>
                <a:spcPts val="600"/>
              </a:spcBef>
              <a:spcAft>
                <a:spcPts val="600"/>
              </a:spcAft>
              <a:buClr>
                <a:schemeClr val="tx2"/>
              </a:buClr>
              <a:buFontTx/>
              <a:buNone/>
              <a:tabLst/>
              <a:defRPr sz="1400" b="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Clr>
                <a:schemeClr val="tx2"/>
              </a:buClr>
              <a:buFontTx/>
              <a:buNone/>
              <a:defRPr sz="1800" b="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tx2"/>
              </a:buClr>
              <a:buFontTx/>
              <a:buNone/>
              <a:tabLst/>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E7303A"/>
              </a:buClr>
              <a:buSzPct val="100000"/>
              <a:buFontTx/>
              <a:buNone/>
              <a:tabLst/>
              <a:defRPr/>
            </a:pPr>
            <a:r>
              <a:rPr kumimoji="0" lang="en-GB" sz="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p>
        </p:txBody>
      </p:sp>
    </p:spTree>
    <p:extLst>
      <p:ext uri="{BB962C8B-B14F-4D97-AF65-F5344CB8AC3E}">
        <p14:creationId xmlns:p14="http://schemas.microsoft.com/office/powerpoint/2010/main" val="610672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tekst 12">
            <a:extLst>
              <a:ext uri="{FF2B5EF4-FFF2-40B4-BE49-F238E27FC236}">
                <a16:creationId xmlns:a16="http://schemas.microsoft.com/office/drawing/2014/main" id="{04C9B357-896A-7A7C-6A9B-0D3B321801E7}"/>
              </a:ext>
            </a:extLst>
          </p:cNvPr>
          <p:cNvSpPr>
            <a:spLocks noGrp="1"/>
          </p:cNvSpPr>
          <p:nvPr>
            <p:ph type="body" sz="quarter" idx="14"/>
          </p:nvPr>
        </p:nvSpPr>
        <p:spPr/>
        <p:txBody>
          <a:bodyPr/>
          <a:lstStyle/>
          <a:p>
            <a:r>
              <a:rPr lang="en-GB"/>
              <a:t> </a:t>
            </a:r>
          </a:p>
        </p:txBody>
      </p:sp>
      <p:sp>
        <p:nvSpPr>
          <p:cNvPr id="14" name="Tijdelijke aanduiding voor tekst 13">
            <a:extLst>
              <a:ext uri="{FF2B5EF4-FFF2-40B4-BE49-F238E27FC236}">
                <a16:creationId xmlns:a16="http://schemas.microsoft.com/office/drawing/2014/main" id="{573CDAE8-5800-4124-966A-9A696629462C}"/>
              </a:ext>
            </a:extLst>
          </p:cNvPr>
          <p:cNvSpPr>
            <a:spLocks noGrp="1"/>
          </p:cNvSpPr>
          <p:nvPr>
            <p:ph type="body" sz="quarter" idx="18"/>
          </p:nvPr>
        </p:nvSpPr>
        <p:spPr/>
        <p:txBody>
          <a:bodyPr/>
          <a:lstStyle/>
          <a:p>
            <a:r>
              <a:rPr lang="en-GB"/>
              <a:t> </a:t>
            </a:r>
          </a:p>
        </p:txBody>
      </p:sp>
      <p:sp>
        <p:nvSpPr>
          <p:cNvPr id="12" name="Titel 11">
            <a:extLst>
              <a:ext uri="{FF2B5EF4-FFF2-40B4-BE49-F238E27FC236}">
                <a16:creationId xmlns:a16="http://schemas.microsoft.com/office/drawing/2014/main" id="{F1581C9F-6F79-27F2-8FBA-B147E2ED93A6}"/>
              </a:ext>
            </a:extLst>
          </p:cNvPr>
          <p:cNvSpPr>
            <a:spLocks noGrp="1"/>
          </p:cNvSpPr>
          <p:nvPr>
            <p:ph type="title"/>
          </p:nvPr>
        </p:nvSpPr>
        <p:spPr/>
        <p:txBody>
          <a:bodyPr/>
          <a:lstStyle/>
          <a:p>
            <a:r>
              <a:rPr lang="en-GB"/>
              <a:t>Introduction</a:t>
            </a:r>
          </a:p>
        </p:txBody>
      </p:sp>
      <p:sp>
        <p:nvSpPr>
          <p:cNvPr id="15" name="Tijdelijke aanduiding voor tekst 14">
            <a:extLst>
              <a:ext uri="{FF2B5EF4-FFF2-40B4-BE49-F238E27FC236}">
                <a16:creationId xmlns:a16="http://schemas.microsoft.com/office/drawing/2014/main" id="{C6C4E963-6F4D-BDDB-3746-96FE89EB971A}"/>
              </a:ext>
            </a:extLst>
          </p:cNvPr>
          <p:cNvSpPr>
            <a:spLocks noGrp="1"/>
          </p:cNvSpPr>
          <p:nvPr>
            <p:ph type="body" sz="quarter" idx="19"/>
          </p:nvPr>
        </p:nvSpPr>
        <p:spPr>
          <a:xfrm>
            <a:off x="2676150" y="1993933"/>
            <a:ext cx="3096000" cy="500202"/>
          </a:xfrm>
        </p:spPr>
        <p:txBody>
          <a:bodyPr vert="horz" lIns="0" tIns="0" rIns="0" bIns="0" rtlCol="0" anchor="t">
            <a:spAutoFit/>
          </a:bodyPr>
          <a:lstStyle/>
          <a:p>
            <a:r>
              <a:rPr lang="en-GB"/>
              <a:t>Technical  Product Manager</a:t>
            </a:r>
            <a:br>
              <a:rPr lang="en-US"/>
            </a:br>
            <a:endParaRPr lang="en-GB"/>
          </a:p>
        </p:txBody>
      </p:sp>
      <p:sp>
        <p:nvSpPr>
          <p:cNvPr id="48" name="Tijdelijke aanduiding voor tekst 47">
            <a:extLst>
              <a:ext uri="{FF2B5EF4-FFF2-40B4-BE49-F238E27FC236}">
                <a16:creationId xmlns:a16="http://schemas.microsoft.com/office/drawing/2014/main" id="{B900A091-36C3-0394-065B-BB061CDC46AB}"/>
              </a:ext>
            </a:extLst>
          </p:cNvPr>
          <p:cNvSpPr>
            <a:spLocks noGrp="1"/>
          </p:cNvSpPr>
          <p:nvPr>
            <p:ph type="body" sz="quarter" idx="78"/>
          </p:nvPr>
        </p:nvSpPr>
        <p:spPr>
          <a:xfrm>
            <a:off x="2676150" y="3081427"/>
            <a:ext cx="3096000" cy="444674"/>
          </a:xfrm>
        </p:spPr>
        <p:txBody>
          <a:bodyPr vert="horz" wrap="square" lIns="0" tIns="0" rIns="0" bIns="0" rtlCol="0" anchor="t">
            <a:spAutoFit/>
          </a:bodyPr>
          <a:lstStyle/>
          <a:p>
            <a:r>
              <a:rPr lang="en-GB"/>
              <a:t>Working on Trust &amp; Identity solutions at SURF </a:t>
            </a:r>
          </a:p>
        </p:txBody>
      </p:sp>
      <p:sp>
        <p:nvSpPr>
          <p:cNvPr id="18" name="Tijdelijke aanduiding voor tekst 17">
            <a:extLst>
              <a:ext uri="{FF2B5EF4-FFF2-40B4-BE49-F238E27FC236}">
                <a16:creationId xmlns:a16="http://schemas.microsoft.com/office/drawing/2014/main" id="{4ABDC40F-87AE-6CFD-ABE4-F4A58FFBB656}"/>
              </a:ext>
            </a:extLst>
          </p:cNvPr>
          <p:cNvSpPr>
            <a:spLocks noGrp="1"/>
          </p:cNvSpPr>
          <p:nvPr>
            <p:ph type="body" sz="quarter" idx="80"/>
          </p:nvPr>
        </p:nvSpPr>
        <p:spPr/>
        <p:txBody>
          <a:bodyPr vert="horz" wrap="square" lIns="0" tIns="0" rIns="0" bIns="0" rtlCol="0" anchor="t">
            <a:spAutoFit/>
          </a:bodyPr>
          <a:lstStyle/>
          <a:p>
            <a:r>
              <a:rPr lang="en-GB"/>
              <a:t>peter.havekes@surf.nl</a:t>
            </a:r>
            <a:endParaRPr lang="nl-NL"/>
          </a:p>
        </p:txBody>
      </p:sp>
      <p:sp>
        <p:nvSpPr>
          <p:cNvPr id="20" name="Tijdelijke aanduiding voor tekst 19">
            <a:extLst>
              <a:ext uri="{FF2B5EF4-FFF2-40B4-BE49-F238E27FC236}">
                <a16:creationId xmlns:a16="http://schemas.microsoft.com/office/drawing/2014/main" id="{BC05F3EB-E386-7738-47EA-7F22356B1415}"/>
              </a:ext>
            </a:extLst>
          </p:cNvPr>
          <p:cNvSpPr>
            <a:spLocks noGrp="1"/>
          </p:cNvSpPr>
          <p:nvPr>
            <p:ph type="body" sz="quarter" idx="82"/>
          </p:nvPr>
        </p:nvSpPr>
        <p:spPr/>
        <p:txBody>
          <a:bodyPr vert="horz" lIns="0" tIns="0" rIns="0" bIns="0" rtlCol="0" anchor="t">
            <a:spAutoFit/>
          </a:bodyPr>
          <a:lstStyle/>
          <a:p>
            <a:r>
              <a:rPr lang="en-GB"/>
              <a:t>Peter </a:t>
            </a:r>
            <a:r>
              <a:rPr lang="en-GB" err="1"/>
              <a:t>Havekes</a:t>
            </a:r>
            <a:endParaRPr lang="nl-NL" err="1"/>
          </a:p>
        </p:txBody>
      </p:sp>
      <p:sp>
        <p:nvSpPr>
          <p:cNvPr id="21" name="Tijdelijke aanduiding voor tekst 20">
            <a:extLst>
              <a:ext uri="{FF2B5EF4-FFF2-40B4-BE49-F238E27FC236}">
                <a16:creationId xmlns:a16="http://schemas.microsoft.com/office/drawing/2014/main" id="{271347C5-3D25-1BA1-86EA-E5962A832124}"/>
              </a:ext>
            </a:extLst>
          </p:cNvPr>
          <p:cNvSpPr>
            <a:spLocks noGrp="1"/>
          </p:cNvSpPr>
          <p:nvPr>
            <p:ph type="body" sz="quarter" idx="83"/>
          </p:nvPr>
        </p:nvSpPr>
        <p:spPr/>
        <p:txBody>
          <a:bodyPr/>
          <a:lstStyle/>
          <a:p>
            <a:r>
              <a:rPr lang="en-GB"/>
              <a:t> </a:t>
            </a:r>
          </a:p>
        </p:txBody>
      </p:sp>
      <p:sp>
        <p:nvSpPr>
          <p:cNvPr id="23" name="Tijdelijke aanduiding voor tekst 22">
            <a:extLst>
              <a:ext uri="{FF2B5EF4-FFF2-40B4-BE49-F238E27FC236}">
                <a16:creationId xmlns:a16="http://schemas.microsoft.com/office/drawing/2014/main" id="{190959B3-FC61-453B-DF84-ACCE455779D1}"/>
              </a:ext>
            </a:extLst>
          </p:cNvPr>
          <p:cNvSpPr>
            <a:spLocks noGrp="1"/>
          </p:cNvSpPr>
          <p:nvPr>
            <p:ph type="body" sz="quarter" idx="85"/>
          </p:nvPr>
        </p:nvSpPr>
        <p:spPr/>
        <p:txBody>
          <a:bodyPr/>
          <a:lstStyle/>
          <a:p>
            <a:r>
              <a:rPr lang="en-GB"/>
              <a:t>Project Manager</a:t>
            </a:r>
          </a:p>
        </p:txBody>
      </p:sp>
      <p:sp>
        <p:nvSpPr>
          <p:cNvPr id="49" name="Tijdelijke aanduiding voor tekst 48">
            <a:extLst>
              <a:ext uri="{FF2B5EF4-FFF2-40B4-BE49-F238E27FC236}">
                <a16:creationId xmlns:a16="http://schemas.microsoft.com/office/drawing/2014/main" id="{59C9F2C0-A491-36E8-65EE-2373232A706C}"/>
              </a:ext>
            </a:extLst>
          </p:cNvPr>
          <p:cNvSpPr>
            <a:spLocks noGrp="1"/>
          </p:cNvSpPr>
          <p:nvPr>
            <p:ph type="body" sz="quarter" idx="86"/>
          </p:nvPr>
        </p:nvSpPr>
        <p:spPr>
          <a:xfrm>
            <a:off x="8351281" y="3081427"/>
            <a:ext cx="3096000" cy="444674"/>
          </a:xfrm>
        </p:spPr>
        <p:txBody>
          <a:bodyPr/>
          <a:lstStyle/>
          <a:p>
            <a:r>
              <a:rPr lang="en-GB"/>
              <a:t>Working on EuroTeQ alliance mobility solutions</a:t>
            </a:r>
          </a:p>
        </p:txBody>
      </p:sp>
      <p:sp>
        <p:nvSpPr>
          <p:cNvPr id="25" name="Tijdelijke aanduiding voor tekst 24">
            <a:extLst>
              <a:ext uri="{FF2B5EF4-FFF2-40B4-BE49-F238E27FC236}">
                <a16:creationId xmlns:a16="http://schemas.microsoft.com/office/drawing/2014/main" id="{D60F1857-79E1-EB86-7C01-32DBD3E5B6C7}"/>
              </a:ext>
            </a:extLst>
          </p:cNvPr>
          <p:cNvSpPr>
            <a:spLocks noGrp="1"/>
          </p:cNvSpPr>
          <p:nvPr>
            <p:ph type="body" sz="quarter" idx="87"/>
          </p:nvPr>
        </p:nvSpPr>
        <p:spPr/>
        <p:txBody>
          <a:bodyPr vert="horz" wrap="square" lIns="0" tIns="0" rIns="0" bIns="0" rtlCol="0" anchor="t">
            <a:spAutoFit/>
          </a:bodyPr>
          <a:lstStyle/>
          <a:p>
            <a:r>
              <a:rPr lang="en-GB"/>
              <a:t>b.b.parker@tue.nl</a:t>
            </a:r>
          </a:p>
        </p:txBody>
      </p:sp>
      <p:sp>
        <p:nvSpPr>
          <p:cNvPr id="27" name="Tijdelijke aanduiding voor tekst 26">
            <a:extLst>
              <a:ext uri="{FF2B5EF4-FFF2-40B4-BE49-F238E27FC236}">
                <a16:creationId xmlns:a16="http://schemas.microsoft.com/office/drawing/2014/main" id="{A929D8E0-B02A-312B-7B95-E3305CCFDE62}"/>
              </a:ext>
            </a:extLst>
          </p:cNvPr>
          <p:cNvSpPr>
            <a:spLocks noGrp="1"/>
          </p:cNvSpPr>
          <p:nvPr>
            <p:ph type="body" sz="quarter" idx="89"/>
          </p:nvPr>
        </p:nvSpPr>
        <p:spPr/>
        <p:txBody>
          <a:bodyPr vert="horz" lIns="0" tIns="0" rIns="0" bIns="0" rtlCol="0" anchor="t">
            <a:spAutoFit/>
          </a:bodyPr>
          <a:lstStyle/>
          <a:p>
            <a:r>
              <a:rPr lang="en-GB"/>
              <a:t>Ben Parker</a:t>
            </a:r>
            <a:endParaRPr lang="nl-NL"/>
          </a:p>
        </p:txBody>
      </p:sp>
      <p:sp>
        <p:nvSpPr>
          <p:cNvPr id="28" name="Tijdelijke aanduiding voor tekst 27">
            <a:extLst>
              <a:ext uri="{FF2B5EF4-FFF2-40B4-BE49-F238E27FC236}">
                <a16:creationId xmlns:a16="http://schemas.microsoft.com/office/drawing/2014/main" id="{E174573B-955D-607B-D1A5-034386B9A206}"/>
              </a:ext>
            </a:extLst>
          </p:cNvPr>
          <p:cNvSpPr>
            <a:spLocks noGrp="1"/>
          </p:cNvSpPr>
          <p:nvPr>
            <p:ph type="body" sz="quarter" idx="90"/>
          </p:nvPr>
        </p:nvSpPr>
        <p:spPr/>
        <p:txBody>
          <a:bodyPr/>
          <a:lstStyle/>
          <a:p>
            <a:r>
              <a:rPr lang="en-GB"/>
              <a:t> </a:t>
            </a:r>
          </a:p>
        </p:txBody>
      </p:sp>
      <p:pic>
        <p:nvPicPr>
          <p:cNvPr id="5" name="Tijdelijke aanduiding voor afbeelding 4" descr="Afbeelding met Menselijk gezicht, persoon, kleding, Kin&#10;&#10;Door AI gegenereerde inhoud is mogelijk onjuist.">
            <a:extLst>
              <a:ext uri="{FF2B5EF4-FFF2-40B4-BE49-F238E27FC236}">
                <a16:creationId xmlns:a16="http://schemas.microsoft.com/office/drawing/2014/main" id="{F94C6C1A-0349-13C6-2846-DF2158363A90}"/>
              </a:ext>
            </a:extLst>
          </p:cNvPr>
          <p:cNvPicPr>
            <a:picLocks noGrp="1" noChangeAspect="1"/>
          </p:cNvPicPr>
          <p:nvPr>
            <p:ph type="pic" sz="quarter" idx="21"/>
          </p:nvPr>
        </p:nvPicPr>
        <p:blipFill>
          <a:blip r:embed="rId3"/>
          <a:srcRect l="2105" t="7719" r="-2105" b="21053"/>
          <a:stretch/>
        </p:blipFill>
        <p:spPr>
          <a:xfrm>
            <a:off x="708207" y="1592264"/>
            <a:ext cx="1725349" cy="1843398"/>
          </a:xfrm>
        </p:spPr>
      </p:pic>
      <p:pic>
        <p:nvPicPr>
          <p:cNvPr id="9" name="Tijdelijke aanduiding voor afbeelding 8" descr="Afbeelding met persoon, Menselijk gezicht, glimlach, kleding&#10;&#10;Door AI gegenereerde inhoud is mogelijk onjuist.">
            <a:extLst>
              <a:ext uri="{FF2B5EF4-FFF2-40B4-BE49-F238E27FC236}">
                <a16:creationId xmlns:a16="http://schemas.microsoft.com/office/drawing/2014/main" id="{F5E98FC8-E010-0C46-B32B-8BB8DA57BC99}"/>
              </a:ext>
            </a:extLst>
          </p:cNvPr>
          <p:cNvPicPr>
            <a:picLocks noGrp="1" noChangeAspect="1"/>
          </p:cNvPicPr>
          <p:nvPr>
            <p:ph type="pic" sz="quarter" idx="84"/>
          </p:nvPr>
        </p:nvPicPr>
        <p:blipFill>
          <a:blip r:embed="rId4"/>
          <a:srcRect l="3250" r="3250"/>
          <a:stretch/>
        </p:blipFill>
        <p:spPr>
          <a:xfrm>
            <a:off x="6383338" y="1592264"/>
            <a:ext cx="1725347" cy="1845308"/>
          </a:xfrm>
        </p:spPr>
      </p:pic>
    </p:spTree>
    <p:extLst>
      <p:ext uri="{BB962C8B-B14F-4D97-AF65-F5344CB8AC3E}">
        <p14:creationId xmlns:p14="http://schemas.microsoft.com/office/powerpoint/2010/main" val="3697972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D1A99C-77FE-1CDB-38B7-BFFC04CE572C}"/>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35A49C27-B9AB-C07B-CFAA-F64C9E6A996A}"/>
              </a:ext>
            </a:extLst>
          </p:cNvPr>
          <p:cNvSpPr>
            <a:spLocks noGrp="1"/>
          </p:cNvSpPr>
          <p:nvPr>
            <p:ph type="body" orient="vert" idx="1"/>
          </p:nvPr>
        </p:nvSpPr>
        <p:spPr>
          <a:xfrm>
            <a:off x="719999" y="1592263"/>
            <a:ext cx="8347801" cy="4213944"/>
          </a:xfrm>
        </p:spPr>
        <p:txBody>
          <a:bodyPr vert="horz" lIns="0" tIns="0" rIns="0" bIns="0" rtlCol="0" anchor="t">
            <a:noAutofit/>
          </a:bodyPr>
          <a:lstStyle/>
          <a:p>
            <a:pPr marL="285750" indent="-285750">
              <a:buClrTx/>
              <a:buFont typeface="Arial" panose="020B0604020202020204" pitchFamily="34" charset="0"/>
              <a:buChar char="•"/>
            </a:pPr>
            <a:r>
              <a:rPr lang="en-US" sz="2400">
                <a:ea typeface="+mn-lt"/>
                <a:cs typeface="+mn-lt"/>
              </a:rPr>
              <a:t>An adapted version of existing </a:t>
            </a:r>
            <a:r>
              <a:rPr lang="en-US" sz="2400" u="sng">
                <a:ea typeface="+mn-lt"/>
                <a:cs typeface="+mn-lt"/>
              </a:rPr>
              <a:t>enrolment process was designed</a:t>
            </a:r>
            <a:r>
              <a:rPr lang="en-US" sz="2400">
                <a:ea typeface="+mn-lt"/>
                <a:cs typeface="+mn-lt"/>
              </a:rPr>
              <a:t> by SURF, to fit the European alliance context</a:t>
            </a:r>
          </a:p>
          <a:p>
            <a:pPr>
              <a:buClrTx/>
            </a:pPr>
            <a:r>
              <a:rPr lang="en-US" sz="2400">
                <a:ea typeface="+mn-lt"/>
                <a:cs typeface="+mn-lt"/>
              </a:rPr>
              <a:t>Each university was tasked with </a:t>
            </a:r>
            <a:r>
              <a:rPr lang="en-US" sz="2400" u="sng">
                <a:ea typeface="+mn-lt"/>
                <a:cs typeface="+mn-lt"/>
              </a:rPr>
              <a:t>creating and installing the new components</a:t>
            </a:r>
            <a:r>
              <a:rPr lang="en-US" sz="2400">
                <a:ea typeface="+mn-lt"/>
                <a:cs typeface="+mn-lt"/>
              </a:rPr>
              <a:t> required (API endpoints and enrolment receiver)</a:t>
            </a:r>
          </a:p>
          <a:p>
            <a:pPr marL="285750" indent="-285750">
              <a:buClrTx/>
              <a:buFont typeface="Arial" panose="020B0604020202020204" pitchFamily="34" charset="0"/>
              <a:buChar char="•"/>
            </a:pPr>
            <a:r>
              <a:rPr lang="en-US" sz="2400">
                <a:ea typeface="+mn-lt"/>
                <a:cs typeface="+mn-lt"/>
              </a:rPr>
              <a:t>There is ongoing work about the </a:t>
            </a:r>
            <a:r>
              <a:rPr lang="en-US" sz="2400" u="sng">
                <a:ea typeface="+mn-lt"/>
                <a:cs typeface="+mn-lt"/>
              </a:rPr>
              <a:t>minimum data required</a:t>
            </a:r>
            <a:r>
              <a:rPr lang="en-US" sz="2400">
                <a:ea typeface="+mn-lt"/>
                <a:cs typeface="+mn-lt"/>
              </a:rPr>
              <a:t> to </a:t>
            </a:r>
            <a:r>
              <a:rPr lang="en-US" sz="2400" err="1">
                <a:ea typeface="+mn-lt"/>
                <a:cs typeface="+mn-lt"/>
              </a:rPr>
              <a:t>enrol</a:t>
            </a:r>
            <a:r>
              <a:rPr lang="en-US" sz="2400">
                <a:ea typeface="+mn-lt"/>
                <a:cs typeface="+mn-lt"/>
              </a:rPr>
              <a:t> a student across all the universities. Extension fields exist for attributes that don’t (currently exist in the OOAPI)</a:t>
            </a:r>
          </a:p>
          <a:p>
            <a:pPr marL="285750" indent="-285750">
              <a:buClrTx/>
              <a:buFont typeface="Arial" panose="020B0604020202020204" pitchFamily="34" charset="0"/>
              <a:buChar char="•"/>
            </a:pPr>
            <a:r>
              <a:rPr lang="en-US" sz="2400" u="sng">
                <a:ea typeface="+mn-lt"/>
                <a:cs typeface="+mn-lt"/>
              </a:rPr>
              <a:t>Testing using a demo-broker</a:t>
            </a:r>
            <a:r>
              <a:rPr lang="en-US" sz="2400">
                <a:ea typeface="+mn-lt"/>
                <a:cs typeface="+mn-lt"/>
              </a:rPr>
              <a:t>, within and across universities who are ready. Two hackathon-style gatherings for intensive testing</a:t>
            </a:r>
          </a:p>
          <a:p>
            <a:pPr marL="285750" indent="-285750">
              <a:buClrTx/>
              <a:buFont typeface="Arial" panose="020B0604020202020204" pitchFamily="34" charset="0"/>
              <a:buChar char="•"/>
            </a:pPr>
            <a:endParaRPr lang="en-US" sz="2000" b="1">
              <a:ea typeface="+mn-lt"/>
              <a:cs typeface="+mn-lt"/>
            </a:endParaRPr>
          </a:p>
          <a:p>
            <a:pPr marL="285750" indent="-285750">
              <a:buClrTx/>
              <a:buFont typeface="Arial" panose="020B0604020202020204" pitchFamily="34" charset="0"/>
              <a:buChar char="•"/>
            </a:pPr>
            <a:endParaRPr lang="en-US" sz="2000" b="1">
              <a:ea typeface="+mn-lt"/>
              <a:cs typeface="+mn-lt"/>
            </a:endParaRPr>
          </a:p>
          <a:p>
            <a:pPr marL="0" indent="0">
              <a:buClrTx/>
              <a:buNone/>
            </a:pPr>
            <a:endParaRPr lang="en-US" sz="2000" b="1">
              <a:latin typeface="Calibri Light"/>
              <a:ea typeface="Calibri Light"/>
              <a:cs typeface="Calibri Light"/>
            </a:endParaRPr>
          </a:p>
          <a:p>
            <a:pPr marL="0" indent="0">
              <a:buClrTx/>
              <a:buNone/>
            </a:pPr>
            <a:endParaRPr lang="en-US" sz="2000" b="1">
              <a:ea typeface="+mn-lt"/>
              <a:cs typeface="+mn-lt"/>
            </a:endParaRPr>
          </a:p>
        </p:txBody>
      </p:sp>
      <p:sp>
        <p:nvSpPr>
          <p:cNvPr id="3" name="Tijdelijke aanduiding voor tekst 2">
            <a:extLst>
              <a:ext uri="{FF2B5EF4-FFF2-40B4-BE49-F238E27FC236}">
                <a16:creationId xmlns:a16="http://schemas.microsoft.com/office/drawing/2014/main" id="{2CFD63EA-491C-2BDE-39A1-BFA31C5B2A4C}"/>
              </a:ext>
            </a:extLst>
          </p:cNvPr>
          <p:cNvSpPr>
            <a:spLocks noGrp="1"/>
          </p:cNvSpPr>
          <p:nvPr>
            <p:ph type="body" sz="quarter" idx="14"/>
          </p:nvPr>
        </p:nvSpPr>
        <p:spPr/>
        <p:txBody>
          <a:bodyPr/>
          <a:lstStyle/>
          <a:p>
            <a:endParaRPr lang="en-NL"/>
          </a:p>
        </p:txBody>
      </p:sp>
      <p:sp>
        <p:nvSpPr>
          <p:cNvPr id="4" name="Tijdelijke aanduiding voor tekst 3">
            <a:extLst>
              <a:ext uri="{FF2B5EF4-FFF2-40B4-BE49-F238E27FC236}">
                <a16:creationId xmlns:a16="http://schemas.microsoft.com/office/drawing/2014/main" id="{79AE2ECB-C06B-C0DD-5C01-276875E4B83D}"/>
              </a:ext>
            </a:extLst>
          </p:cNvPr>
          <p:cNvSpPr>
            <a:spLocks noGrp="1"/>
          </p:cNvSpPr>
          <p:nvPr>
            <p:ph type="body" sz="quarter" idx="18"/>
          </p:nvPr>
        </p:nvSpPr>
        <p:spPr/>
        <p:txBody>
          <a:bodyPr/>
          <a:lstStyle/>
          <a:p>
            <a:endParaRPr lang="en-NL"/>
          </a:p>
        </p:txBody>
      </p:sp>
      <p:sp>
        <p:nvSpPr>
          <p:cNvPr id="5" name="Titel 4">
            <a:extLst>
              <a:ext uri="{FF2B5EF4-FFF2-40B4-BE49-F238E27FC236}">
                <a16:creationId xmlns:a16="http://schemas.microsoft.com/office/drawing/2014/main" id="{0DD5A12A-EAAD-22C8-84FA-35B736D2369B}"/>
              </a:ext>
            </a:extLst>
          </p:cNvPr>
          <p:cNvSpPr>
            <a:spLocks noGrp="1"/>
          </p:cNvSpPr>
          <p:nvPr>
            <p:ph type="title"/>
          </p:nvPr>
        </p:nvSpPr>
        <p:spPr/>
        <p:txBody>
          <a:bodyPr/>
          <a:lstStyle/>
          <a:p>
            <a:r>
              <a:rPr lang="en-US">
                <a:latin typeface="Roboto"/>
                <a:ea typeface="Roboto"/>
                <a:cs typeface="Roboto"/>
              </a:rPr>
              <a:t>Process so far</a:t>
            </a:r>
            <a:endParaRPr lang="en-N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1117668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EDAA8C-CC13-464B-302C-601C5E0B2B2E}"/>
            </a:ext>
          </a:extLst>
        </p:cNvPr>
        <p:cNvGrpSpPr/>
        <p:nvPr/>
      </p:nvGrpSpPr>
      <p:grpSpPr>
        <a:xfrm>
          <a:off x="0" y="0"/>
          <a:ext cx="0" cy="0"/>
          <a:chOff x="0" y="0"/>
          <a:chExt cx="0" cy="0"/>
        </a:xfrm>
      </p:grpSpPr>
      <p:pic>
        <p:nvPicPr>
          <p:cNvPr id="13" name="Tijdelijke aanduiding voor afbeelding 12" descr="Afbeelding met overdekt, meubels, bureau, Kantoorgebouw&#10;&#10;Door AI gegenereerde inhoud is mogelijk onjuist.">
            <a:extLst>
              <a:ext uri="{FF2B5EF4-FFF2-40B4-BE49-F238E27FC236}">
                <a16:creationId xmlns:a16="http://schemas.microsoft.com/office/drawing/2014/main" id="{3E0771B6-175F-22C1-8809-455C205514D7}"/>
              </a:ext>
            </a:extLst>
          </p:cNvPr>
          <p:cNvPicPr>
            <a:picLocks noGrp="1" noChangeAspect="1"/>
          </p:cNvPicPr>
          <p:nvPr>
            <p:ph type="pic" sz="quarter" idx="14"/>
          </p:nvPr>
        </p:nvPicPr>
        <p:blipFill>
          <a:blip r:embed="rId2"/>
          <a:srcRect l="12514" r="12514"/>
          <a:stretch>
            <a:fillRect/>
          </a:stretch>
        </p:blipFill>
        <p:spPr>
          <a:xfrm>
            <a:off x="6718981" y="704169"/>
            <a:ext cx="4780611" cy="475660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 name="Tijdelijke aanduiding voor tekst 2">
            <a:extLst>
              <a:ext uri="{FF2B5EF4-FFF2-40B4-BE49-F238E27FC236}">
                <a16:creationId xmlns:a16="http://schemas.microsoft.com/office/drawing/2014/main" id="{21B61D72-31CA-FE02-C084-230919037B54}"/>
              </a:ext>
            </a:extLst>
          </p:cNvPr>
          <p:cNvSpPr>
            <a:spLocks noGrp="1"/>
          </p:cNvSpPr>
          <p:nvPr>
            <p:ph type="body" sz="quarter" idx="21"/>
          </p:nvPr>
        </p:nvSpPr>
        <p:spPr/>
        <p:txBody>
          <a:bodyPr/>
          <a:lstStyle/>
          <a:p>
            <a:r>
              <a:rPr lang="nl-NL"/>
              <a:t> </a:t>
            </a:r>
          </a:p>
        </p:txBody>
      </p:sp>
      <p:sp>
        <p:nvSpPr>
          <p:cNvPr id="4" name="Tijdelijke aanduiding voor tekst 3">
            <a:extLst>
              <a:ext uri="{FF2B5EF4-FFF2-40B4-BE49-F238E27FC236}">
                <a16:creationId xmlns:a16="http://schemas.microsoft.com/office/drawing/2014/main" id="{17ADC32E-4740-3D33-7A4D-CEA13E6101F7}"/>
              </a:ext>
            </a:extLst>
          </p:cNvPr>
          <p:cNvSpPr>
            <a:spLocks noGrp="1"/>
          </p:cNvSpPr>
          <p:nvPr>
            <p:ph type="body" sz="quarter" idx="18"/>
          </p:nvPr>
        </p:nvSpPr>
        <p:spPr/>
        <p:txBody>
          <a:bodyPr/>
          <a:lstStyle/>
          <a:p>
            <a:r>
              <a:rPr lang="nl-NL"/>
              <a:t> </a:t>
            </a:r>
          </a:p>
        </p:txBody>
      </p:sp>
      <p:sp>
        <p:nvSpPr>
          <p:cNvPr id="5" name="Titel 4">
            <a:extLst>
              <a:ext uri="{FF2B5EF4-FFF2-40B4-BE49-F238E27FC236}">
                <a16:creationId xmlns:a16="http://schemas.microsoft.com/office/drawing/2014/main" id="{9EB6C7BA-53BB-E735-78E2-5ECE2DCAEDFD}"/>
              </a:ext>
            </a:extLst>
          </p:cNvPr>
          <p:cNvSpPr>
            <a:spLocks noGrp="1"/>
          </p:cNvSpPr>
          <p:nvPr>
            <p:ph type="title"/>
          </p:nvPr>
        </p:nvSpPr>
        <p:spPr/>
        <p:txBody>
          <a:bodyPr/>
          <a:lstStyle/>
          <a:p>
            <a:r>
              <a:rPr lang="en-GB"/>
              <a:t>Hackathons</a:t>
            </a:r>
          </a:p>
        </p:txBody>
      </p:sp>
      <p:pic>
        <p:nvPicPr>
          <p:cNvPr id="7" name="Tijdelijke aanduiding voor afbeelding 12" descr="Afbeelding met overdekt, stoel, meubels, Kantoorgebouw&#10;&#10;Door AI gegenereerde inhoud is mogelijk onjuist.">
            <a:extLst>
              <a:ext uri="{FF2B5EF4-FFF2-40B4-BE49-F238E27FC236}">
                <a16:creationId xmlns:a16="http://schemas.microsoft.com/office/drawing/2014/main" id="{5CB76C91-F110-0FF5-EE68-F71046ED1788}"/>
              </a:ext>
            </a:extLst>
          </p:cNvPr>
          <p:cNvPicPr>
            <a:picLocks noChangeAspect="1"/>
          </p:cNvPicPr>
          <p:nvPr/>
        </p:nvPicPr>
        <p:blipFill>
          <a:blip r:embed="rId3"/>
          <a:srcRect l="12525" r="12525"/>
          <a:stretch>
            <a:fillRect/>
          </a:stretch>
        </p:blipFill>
        <p:spPr>
          <a:xfrm>
            <a:off x="703633" y="2881971"/>
            <a:ext cx="2908599" cy="293159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6" name="Afbeelding 5" descr="Afbeelding met kleding, persoon, overdekt, muur&#10;&#10;Door AI gegenereerde inhoud is mogelijk onjuist.">
            <a:extLst>
              <a:ext uri="{FF2B5EF4-FFF2-40B4-BE49-F238E27FC236}">
                <a16:creationId xmlns:a16="http://schemas.microsoft.com/office/drawing/2014/main" id="{E0E2F0D8-B63D-94FB-4AB5-7C83AACEB800}"/>
              </a:ext>
            </a:extLst>
          </p:cNvPr>
          <p:cNvPicPr>
            <a:picLocks noChangeAspect="1"/>
          </p:cNvPicPr>
          <p:nvPr/>
        </p:nvPicPr>
        <p:blipFill>
          <a:blip r:embed="rId4"/>
          <a:stretch>
            <a:fillRect/>
          </a:stretch>
        </p:blipFill>
        <p:spPr>
          <a:xfrm>
            <a:off x="3241098" y="1638732"/>
            <a:ext cx="3651415" cy="325396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1089509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D19521-8548-BA0D-3F83-309860AC8DD4}"/>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AD15291B-250E-E839-F108-6CEAF3E07100}"/>
              </a:ext>
            </a:extLst>
          </p:cNvPr>
          <p:cNvSpPr>
            <a:spLocks noGrp="1"/>
          </p:cNvSpPr>
          <p:nvPr>
            <p:ph type="title"/>
          </p:nvPr>
        </p:nvSpPr>
        <p:spPr/>
        <p:txBody>
          <a:bodyPr/>
          <a:lstStyle/>
          <a:p>
            <a:r>
              <a:rPr lang="en-GB"/>
              <a:t>Chapter orange</a:t>
            </a:r>
          </a:p>
        </p:txBody>
      </p:sp>
      <p:sp>
        <p:nvSpPr>
          <p:cNvPr id="6" name="Tijdelijke aanduiding voor tekst 10">
            <a:extLst>
              <a:ext uri="{FF2B5EF4-FFF2-40B4-BE49-F238E27FC236}">
                <a16:creationId xmlns:a16="http://schemas.microsoft.com/office/drawing/2014/main" id="{274AE4F9-2F55-086C-BC4F-058DB698C6DA}"/>
              </a:ext>
            </a:extLst>
          </p:cNvPr>
          <p:cNvSpPr txBox="1">
            <a:spLocks/>
          </p:cNvSpPr>
          <p:nvPr/>
        </p:nvSpPr>
        <p:spPr>
          <a:xfrm>
            <a:off x="193040" y="216852"/>
            <a:ext cx="11805920" cy="6424295"/>
          </a:xfrm>
          <a:prstGeom prst="roundRect">
            <a:avLst>
              <a:gd name="adj" fmla="val 3563"/>
            </a:avLst>
          </a:prstGeom>
          <a:solidFill>
            <a:schemeClr val="accent1"/>
          </a:solidFill>
        </p:spPr>
        <p:txBody>
          <a:bodyPr wrap="square">
            <a:noAutofit/>
          </a:bodyPr>
          <a:lstStyle>
            <a:lvl1pPr marL="0" indent="0" algn="l" defTabSz="914400" rtl="0" eaLnBrk="1" latinLnBrk="0" hangingPunct="1">
              <a:lnSpc>
                <a:spcPct val="90000"/>
              </a:lnSpc>
              <a:spcBef>
                <a:spcPts val="600"/>
              </a:spcBef>
              <a:spcAft>
                <a:spcPts val="600"/>
              </a:spcAft>
              <a:buClr>
                <a:schemeClr val="accent1"/>
              </a:buClr>
              <a:buSzPct val="110000"/>
              <a:buFont typeface="Aptos" panose="020B0004020202020204" pitchFamily="34" charset="0"/>
              <a:buNone/>
              <a:defRPr sz="100" kern="1200">
                <a:solidFill>
                  <a:schemeClr val="tx1"/>
                </a:solidFill>
                <a:latin typeface="+mn-lt"/>
                <a:ea typeface="+mn-ea"/>
                <a:cs typeface="+mn-cs"/>
              </a:defRPr>
            </a:lvl1pPr>
            <a:lvl2pPr marL="355600" indent="-177800" algn="l" defTabSz="914400" rtl="0" eaLnBrk="1" latinLnBrk="0" hangingPunct="1">
              <a:lnSpc>
                <a:spcPct val="90000"/>
              </a:lnSpc>
              <a:spcBef>
                <a:spcPts val="600"/>
              </a:spcBef>
              <a:spcAft>
                <a:spcPts val="600"/>
              </a:spcAft>
              <a:buClr>
                <a:schemeClr val="tx2"/>
              </a:buClr>
              <a:buFont typeface="Aptos" panose="020B0004020202020204" pitchFamily="34" charset="0"/>
              <a:buChar char="•"/>
              <a:tabLst/>
              <a:defRPr sz="1600" kern="1200">
                <a:solidFill>
                  <a:schemeClr val="tx1"/>
                </a:solidFill>
                <a:latin typeface="+mn-lt"/>
                <a:ea typeface="+mn-ea"/>
                <a:cs typeface="+mn-cs"/>
              </a:defRPr>
            </a:lvl2pPr>
            <a:lvl3pPr marL="531813" indent="-176213"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1600" kern="1200">
                <a:solidFill>
                  <a:schemeClr val="tx1"/>
                </a:solidFill>
                <a:latin typeface="+mn-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5"/>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2"/>
                </a:solidFill>
                <a:latin typeface="+mj-lt"/>
                <a:ea typeface="+mn-ea"/>
                <a:cs typeface="+mn-cs"/>
              </a:defRPr>
            </a:lvl6pPr>
            <a:lvl7pPr marL="342900" indent="-342900" algn="l" defTabSz="914400" rtl="0" eaLnBrk="1" latinLnBrk="0" hangingPunct="1">
              <a:lnSpc>
                <a:spcPct val="90000"/>
              </a:lnSpc>
              <a:spcBef>
                <a:spcPts val="600"/>
              </a:spcBef>
              <a:spcAft>
                <a:spcPts val="600"/>
              </a:spcAft>
              <a:buClr>
                <a:schemeClr val="tx2"/>
              </a:buClr>
              <a:buFont typeface="+mj-lt"/>
              <a:buAutoNum type="arabicPeriod"/>
              <a:tabLst/>
              <a:defRPr sz="1600" kern="1200">
                <a:solidFill>
                  <a:schemeClr val="tx1"/>
                </a:solidFill>
                <a:latin typeface="+mn-lt"/>
                <a:ea typeface="+mn-ea"/>
                <a:cs typeface="+mn-cs"/>
              </a:defRPr>
            </a:lvl7pPr>
            <a:lvl8pPr marL="342900" indent="-342900" algn="l" defTabSz="914400" rtl="0" eaLnBrk="1" latinLnBrk="0" hangingPunct="1">
              <a:lnSpc>
                <a:spcPct val="90000"/>
              </a:lnSpc>
              <a:spcBef>
                <a:spcPts val="600"/>
              </a:spcBef>
              <a:spcAft>
                <a:spcPts val="600"/>
              </a:spcAft>
              <a:buClr>
                <a:schemeClr val="tx2"/>
              </a:buClr>
              <a:buFont typeface="+mj-lt"/>
              <a:buAutoNum type="alphaLcPeriod"/>
              <a:defRPr sz="1600" kern="1200">
                <a:solidFill>
                  <a:schemeClr val="tx1"/>
                </a:solidFill>
                <a:latin typeface="+mn-lt"/>
                <a:ea typeface="+mn-ea"/>
                <a:cs typeface="+mn-cs"/>
              </a:defRPr>
            </a:lvl8pPr>
            <a:lvl9pPr marL="541338" indent="-180975"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F6DA44"/>
              </a:buClr>
              <a:buSzPct val="110000"/>
              <a:buFont typeface="Aptos" panose="020B0004020202020204" pitchFamily="34" charset="0"/>
              <a:buNone/>
              <a:tabLst/>
              <a:defRPr/>
            </a:pPr>
            <a:r>
              <a:rPr kumimoji="0" lang="en-GB" sz="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p>
        </p:txBody>
      </p:sp>
      <p:sp>
        <p:nvSpPr>
          <p:cNvPr id="10" name="Tekstvak 9">
            <a:extLst>
              <a:ext uri="{FF2B5EF4-FFF2-40B4-BE49-F238E27FC236}">
                <a16:creationId xmlns:a16="http://schemas.microsoft.com/office/drawing/2014/main" id="{6DE3EBD2-90D0-F025-CF6D-7702CE95A4FC}"/>
              </a:ext>
            </a:extLst>
          </p:cNvPr>
          <p:cNvSpPr txBox="1"/>
          <p:nvPr/>
        </p:nvSpPr>
        <p:spPr>
          <a:xfrm>
            <a:off x="902978" y="2987073"/>
            <a:ext cx="9521181" cy="940292"/>
          </a:xfrm>
          <a:prstGeom prst="rect">
            <a:avLst/>
          </a:prstGeom>
          <a:noFill/>
        </p:spPr>
        <p:txBody>
          <a:bodyPr wrap="square" lIns="0" tIns="0" rIns="0" bIns="0" rtlCol="0" anchor="b">
            <a:noAutofit/>
          </a:bodyPr>
          <a:lstStyle/>
          <a:p>
            <a:pPr>
              <a:lnSpc>
                <a:spcPct val="80000"/>
              </a:lnSpc>
              <a:defRPr/>
            </a:pPr>
            <a:r>
              <a:rPr lang="en-GB" sz="6600" b="1">
                <a:solidFill>
                  <a:srgbClr val="FFFFFF"/>
                </a:solidFill>
              </a:rPr>
              <a:t>Lessons Learned</a:t>
            </a:r>
            <a:endParaRPr lang="nl-NL">
              <a:ea typeface="+mn-ea"/>
              <a:cs typeface="+mn-cs"/>
            </a:endParaRPr>
          </a:p>
        </p:txBody>
      </p:sp>
      <p:sp>
        <p:nvSpPr>
          <p:cNvPr id="11" name="Tijdelijke aanduiding voor tekst 12">
            <a:extLst>
              <a:ext uri="{FF2B5EF4-FFF2-40B4-BE49-F238E27FC236}">
                <a16:creationId xmlns:a16="http://schemas.microsoft.com/office/drawing/2014/main" id="{2A27CFEE-A760-CF5D-C245-0122AE7DC9DD}"/>
              </a:ext>
            </a:extLst>
          </p:cNvPr>
          <p:cNvSpPr txBox="1">
            <a:spLocks/>
          </p:cNvSpPr>
          <p:nvPr/>
        </p:nvSpPr>
        <p:spPr>
          <a:xfrm>
            <a:off x="708207" y="3123000"/>
            <a:ext cx="36000" cy="612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rgbClr val="F19153"/>
          </a:solidFill>
        </p:spPr>
        <p:txBody>
          <a:bodyPr wrap="square">
            <a:noAutofit/>
          </a:bodyPr>
          <a:lstStyle>
            <a:lvl1pPr marL="0" indent="0" algn="l" defTabSz="914400" rtl="0" eaLnBrk="1" latinLnBrk="0" hangingPunct="1">
              <a:lnSpc>
                <a:spcPct val="90000"/>
              </a:lnSpc>
              <a:spcBef>
                <a:spcPts val="600"/>
              </a:spcBef>
              <a:spcAft>
                <a:spcPts val="600"/>
              </a:spcAft>
              <a:buClr>
                <a:schemeClr val="accent4"/>
              </a:buClr>
              <a:buSzPct val="100000"/>
              <a:buFontTx/>
              <a:buNone/>
              <a:defRPr sz="100" kern="1200">
                <a:solidFill>
                  <a:schemeClr val="tx1"/>
                </a:solidFill>
                <a:latin typeface="+mn-lt"/>
                <a:ea typeface="+mn-ea"/>
                <a:cs typeface="+mn-cs"/>
              </a:defRPr>
            </a:lvl1pPr>
            <a:lvl2pPr marL="0" indent="0" algn="l" defTabSz="914400" rtl="0" eaLnBrk="1" latinLnBrk="0" hangingPunct="1">
              <a:lnSpc>
                <a:spcPct val="90000"/>
              </a:lnSpc>
              <a:spcBef>
                <a:spcPts val="600"/>
              </a:spcBef>
              <a:spcAft>
                <a:spcPts val="600"/>
              </a:spcAft>
              <a:buClr>
                <a:schemeClr val="tx2"/>
              </a:buClr>
              <a:buFont typeface="Aptos" panose="020B0004020202020204" pitchFamily="34" charset="0"/>
              <a:buNone/>
              <a:tabLst/>
              <a:defRPr sz="1600" kern="1200">
                <a:solidFill>
                  <a:schemeClr val="tx1"/>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tx2"/>
              </a:buClr>
              <a:buFontTx/>
              <a:buNone/>
              <a:defRPr sz="2000" b="1" kern="1200">
                <a:solidFill>
                  <a:schemeClr val="accent3"/>
                </a:solidFill>
                <a:latin typeface="+mj-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2"/>
                </a:solidFill>
                <a:latin typeface="+mj-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4"/>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5"/>
                </a:solidFill>
                <a:latin typeface="+mj-lt"/>
                <a:ea typeface="+mn-ea"/>
                <a:cs typeface="+mn-cs"/>
              </a:defRPr>
            </a:lvl6pPr>
            <a:lvl7pPr marL="0" indent="0" algn="l" defTabSz="914400" rtl="0" eaLnBrk="1" latinLnBrk="0" hangingPunct="1">
              <a:lnSpc>
                <a:spcPct val="90000"/>
              </a:lnSpc>
              <a:spcBef>
                <a:spcPts val="600"/>
              </a:spcBef>
              <a:spcAft>
                <a:spcPts val="600"/>
              </a:spcAft>
              <a:buClr>
                <a:schemeClr val="tx2"/>
              </a:buClr>
              <a:buFontTx/>
              <a:buNone/>
              <a:tabLst/>
              <a:defRPr sz="1400" b="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Clr>
                <a:schemeClr val="tx2"/>
              </a:buClr>
              <a:buFontTx/>
              <a:buNone/>
              <a:defRPr sz="1800" b="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tx2"/>
              </a:buClr>
              <a:buFontTx/>
              <a:buNone/>
              <a:tabLst/>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E7303A"/>
              </a:buClr>
              <a:buSzPct val="100000"/>
              <a:buFontTx/>
              <a:buNone/>
              <a:tabLst/>
              <a:defRPr/>
            </a:pPr>
            <a:r>
              <a:rPr kumimoji="0" lang="en-GB" sz="100" b="0" i="0" u="none" strike="noStrike" kern="1200" cap="none" spc="0" normalizeH="0" baseline="0" noProof="0">
                <a:ln>
                  <a:noFill/>
                </a:ln>
                <a:solidFill>
                  <a:prstClr val="black"/>
                </a:solidFill>
                <a:effectLst/>
                <a:uLnTx/>
                <a:uFillTx/>
                <a:latin typeface="+mj-lt"/>
                <a:ea typeface="+mn-ea"/>
                <a:cs typeface="+mn-cs"/>
              </a:rPr>
              <a:t> </a:t>
            </a:r>
          </a:p>
        </p:txBody>
      </p:sp>
      <p:sp>
        <p:nvSpPr>
          <p:cNvPr id="15" name="Tijdelijke aanduiding voor tekst 15">
            <a:extLst>
              <a:ext uri="{FF2B5EF4-FFF2-40B4-BE49-F238E27FC236}">
                <a16:creationId xmlns:a16="http://schemas.microsoft.com/office/drawing/2014/main" id="{99536DC1-5B25-8E18-D0DA-1825B7B1261C}"/>
              </a:ext>
            </a:extLst>
          </p:cNvPr>
          <p:cNvSpPr txBox="1">
            <a:spLocks/>
          </p:cNvSpPr>
          <p:nvPr/>
        </p:nvSpPr>
        <p:spPr>
          <a:xfrm>
            <a:off x="720000" y="6060536"/>
            <a:ext cx="932400" cy="475200"/>
          </a:xfrm>
          <a:prstGeom prst="rect">
            <a:avLst/>
          </a:prstGeom>
          <a:blipFill>
            <a:blip r:embed="rId3"/>
            <a:stretch>
              <a:fillRect/>
            </a:stretch>
          </a:blipFill>
        </p:spPr>
        <p:txBody>
          <a:bodyPr/>
          <a:lstStyle>
            <a:lvl1pPr marL="0" indent="0" algn="l" defTabSz="914400" rtl="0" eaLnBrk="1" latinLnBrk="0" hangingPunct="1">
              <a:lnSpc>
                <a:spcPct val="90000"/>
              </a:lnSpc>
              <a:spcBef>
                <a:spcPts val="600"/>
              </a:spcBef>
              <a:spcAft>
                <a:spcPts val="600"/>
              </a:spcAft>
              <a:buClr>
                <a:schemeClr val="accent4"/>
              </a:buClr>
              <a:buSzPct val="100000"/>
              <a:buFontTx/>
              <a:buNone/>
              <a:defRPr sz="100" kern="1200">
                <a:solidFill>
                  <a:schemeClr val="tx1"/>
                </a:solidFill>
                <a:latin typeface="+mn-lt"/>
                <a:ea typeface="+mn-ea"/>
                <a:cs typeface="+mn-cs"/>
              </a:defRPr>
            </a:lvl1pPr>
            <a:lvl2pPr marL="0" indent="0" algn="l" defTabSz="914400" rtl="0" eaLnBrk="1" latinLnBrk="0" hangingPunct="1">
              <a:lnSpc>
                <a:spcPct val="90000"/>
              </a:lnSpc>
              <a:spcBef>
                <a:spcPts val="600"/>
              </a:spcBef>
              <a:spcAft>
                <a:spcPts val="600"/>
              </a:spcAft>
              <a:buClr>
                <a:schemeClr val="tx2"/>
              </a:buClr>
              <a:buFont typeface="Aptos" panose="020B0004020202020204" pitchFamily="34" charset="0"/>
              <a:buNone/>
              <a:tabLst/>
              <a:defRPr sz="1600" kern="1200">
                <a:solidFill>
                  <a:schemeClr val="tx1"/>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tx2"/>
              </a:buClr>
              <a:buFontTx/>
              <a:buNone/>
              <a:defRPr sz="2000" b="1" kern="1200">
                <a:solidFill>
                  <a:schemeClr val="accent3"/>
                </a:solidFill>
                <a:latin typeface="+mj-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2"/>
                </a:solidFill>
                <a:latin typeface="+mj-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4"/>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5"/>
                </a:solidFill>
                <a:latin typeface="+mj-lt"/>
                <a:ea typeface="+mn-ea"/>
                <a:cs typeface="+mn-cs"/>
              </a:defRPr>
            </a:lvl6pPr>
            <a:lvl7pPr marL="0" indent="0" algn="l" defTabSz="914400" rtl="0" eaLnBrk="1" latinLnBrk="0" hangingPunct="1">
              <a:lnSpc>
                <a:spcPct val="90000"/>
              </a:lnSpc>
              <a:spcBef>
                <a:spcPts val="600"/>
              </a:spcBef>
              <a:spcAft>
                <a:spcPts val="600"/>
              </a:spcAft>
              <a:buClr>
                <a:schemeClr val="tx2"/>
              </a:buClr>
              <a:buFontTx/>
              <a:buNone/>
              <a:tabLst/>
              <a:defRPr sz="1400" b="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Clr>
                <a:schemeClr val="tx2"/>
              </a:buClr>
              <a:buFontTx/>
              <a:buNone/>
              <a:defRPr sz="1800" b="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tx2"/>
              </a:buClr>
              <a:buFontTx/>
              <a:buNone/>
              <a:tabLst/>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E7303A"/>
              </a:buClr>
              <a:buSzPct val="100000"/>
              <a:buFontTx/>
              <a:buNone/>
              <a:tabLst/>
              <a:defRPr/>
            </a:pPr>
            <a:r>
              <a:rPr kumimoji="0" lang="en-GB" sz="100" b="0" i="0" u="none" strike="noStrike" kern="1200" cap="none" spc="0" normalizeH="0" baseline="0" noProof="0">
                <a:ln>
                  <a:noFill/>
                </a:ln>
                <a:solidFill>
                  <a:prstClr val="black"/>
                </a:solidFill>
                <a:effectLst/>
                <a:uLnTx/>
                <a:uFillTx/>
                <a:latin typeface="+mj-lt"/>
                <a:ea typeface="+mn-ea"/>
                <a:cs typeface="+mn-cs"/>
              </a:rPr>
              <a:t> </a:t>
            </a:r>
          </a:p>
        </p:txBody>
      </p:sp>
    </p:spTree>
    <p:extLst>
      <p:ext uri="{BB962C8B-B14F-4D97-AF65-F5344CB8AC3E}">
        <p14:creationId xmlns:p14="http://schemas.microsoft.com/office/powerpoint/2010/main" val="139879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B1271A-89D6-651A-2C82-41ACF7B5E8CB}"/>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0A992302-3CF6-F9FE-49E8-0898081E57A3}"/>
              </a:ext>
            </a:extLst>
          </p:cNvPr>
          <p:cNvSpPr>
            <a:spLocks noGrp="1"/>
          </p:cNvSpPr>
          <p:nvPr>
            <p:ph type="body" orient="vert" idx="1"/>
          </p:nvPr>
        </p:nvSpPr>
        <p:spPr>
          <a:xfrm>
            <a:off x="719999" y="1592263"/>
            <a:ext cx="8347801" cy="4213944"/>
          </a:xfrm>
        </p:spPr>
        <p:txBody>
          <a:bodyPr vert="horz" lIns="0" tIns="0" rIns="0" bIns="0" rtlCol="0" anchor="t">
            <a:noAutofit/>
          </a:bodyPr>
          <a:lstStyle/>
          <a:p>
            <a:pPr marL="285750" indent="-285750">
              <a:buClrTx/>
              <a:buFont typeface="Arial" panose="020B0604020202020204" pitchFamily="34" charset="0"/>
              <a:buChar char="•"/>
            </a:pPr>
            <a:r>
              <a:rPr lang="en-US" sz="2400" u="sng">
                <a:ea typeface="+mn-lt"/>
                <a:cs typeface="+mn-lt"/>
              </a:rPr>
              <a:t>Different IDs exist</a:t>
            </a:r>
            <a:r>
              <a:rPr lang="en-US" sz="2400">
                <a:ea typeface="+mn-lt"/>
                <a:cs typeface="+mn-lt"/>
              </a:rPr>
              <a:t> at each institution; building upon a tool that makes use of </a:t>
            </a:r>
            <a:r>
              <a:rPr lang="en-US" sz="2400" err="1">
                <a:ea typeface="+mn-lt"/>
                <a:cs typeface="+mn-lt"/>
              </a:rPr>
              <a:t>edugain</a:t>
            </a:r>
            <a:r>
              <a:rPr lang="en-US" sz="2400">
                <a:ea typeface="+mn-lt"/>
                <a:cs typeface="+mn-lt"/>
              </a:rPr>
              <a:t> is helpful</a:t>
            </a:r>
          </a:p>
          <a:p>
            <a:pPr marL="285750" indent="-285750">
              <a:buClrTx/>
              <a:buFont typeface="Arial" panose="020B0604020202020204" pitchFamily="34" charset="0"/>
              <a:buChar char="•"/>
            </a:pPr>
            <a:r>
              <a:rPr lang="en-US" sz="2400" u="sng">
                <a:ea typeface="+mn-lt"/>
                <a:cs typeface="+mn-lt"/>
              </a:rPr>
              <a:t>Data gaps</a:t>
            </a:r>
            <a:r>
              <a:rPr lang="en-US" sz="2400">
                <a:ea typeface="+mn-lt"/>
                <a:cs typeface="+mn-lt"/>
              </a:rPr>
              <a:t> - not all universities have the same data requirements for registering and enrolling students, and sometimes it is held in varying formats</a:t>
            </a:r>
          </a:p>
          <a:p>
            <a:pPr marL="285750" indent="-285750">
              <a:buClrTx/>
              <a:buFont typeface="Arial" panose="020B0604020202020204" pitchFamily="34" charset="0"/>
              <a:buChar char="•"/>
            </a:pPr>
            <a:r>
              <a:rPr lang="en-US" sz="2400" u="sng">
                <a:ea typeface="+mn-lt"/>
                <a:cs typeface="+mn-lt"/>
              </a:rPr>
              <a:t>New fields</a:t>
            </a:r>
            <a:r>
              <a:rPr lang="en-US" sz="2400">
                <a:ea typeface="+mn-lt"/>
                <a:cs typeface="+mn-lt"/>
              </a:rPr>
              <a:t> - Capturing ‘association state’ (enrolment status of the student) from both home and host university is a change for most institutions</a:t>
            </a:r>
          </a:p>
          <a:p>
            <a:pPr marL="285750" indent="-285750">
              <a:buClrTx/>
              <a:buFont typeface="Arial" panose="020B0604020202020204" pitchFamily="34" charset="0"/>
              <a:buChar char="•"/>
            </a:pPr>
            <a:r>
              <a:rPr lang="en-US" sz="2400">
                <a:ea typeface="+mn-lt"/>
                <a:cs typeface="+mn-lt"/>
              </a:rPr>
              <a:t>Hackathon-style testing results in </a:t>
            </a:r>
            <a:r>
              <a:rPr lang="en-US" sz="2400" u="sng">
                <a:ea typeface="+mn-lt"/>
                <a:cs typeface="+mn-lt"/>
              </a:rPr>
              <a:t>faster changes</a:t>
            </a:r>
            <a:r>
              <a:rPr lang="en-US" sz="2400">
                <a:ea typeface="+mn-lt"/>
                <a:cs typeface="+mn-lt"/>
              </a:rPr>
              <a:t> and fixes</a:t>
            </a:r>
            <a:endParaRPr lang="en-US" sz="2400">
              <a:latin typeface="Calibri Light"/>
              <a:ea typeface="Calibri Light"/>
              <a:cs typeface="Calibri Light"/>
            </a:endParaRPr>
          </a:p>
          <a:p>
            <a:pPr marL="0" indent="0">
              <a:buClrTx/>
              <a:buNone/>
            </a:pPr>
            <a:endParaRPr lang="en-US" sz="2000">
              <a:ea typeface="+mn-lt"/>
              <a:cs typeface="+mn-lt"/>
            </a:endParaRPr>
          </a:p>
        </p:txBody>
      </p:sp>
      <p:sp>
        <p:nvSpPr>
          <p:cNvPr id="3" name="Tijdelijke aanduiding voor tekst 2">
            <a:extLst>
              <a:ext uri="{FF2B5EF4-FFF2-40B4-BE49-F238E27FC236}">
                <a16:creationId xmlns:a16="http://schemas.microsoft.com/office/drawing/2014/main" id="{7746C23C-128A-0C6C-EE16-3CE4D34C7245}"/>
              </a:ext>
            </a:extLst>
          </p:cNvPr>
          <p:cNvSpPr>
            <a:spLocks noGrp="1"/>
          </p:cNvSpPr>
          <p:nvPr>
            <p:ph type="body" sz="quarter" idx="14"/>
          </p:nvPr>
        </p:nvSpPr>
        <p:spPr/>
        <p:txBody>
          <a:bodyPr/>
          <a:lstStyle/>
          <a:p>
            <a:endParaRPr lang="en-NL"/>
          </a:p>
        </p:txBody>
      </p:sp>
      <p:sp>
        <p:nvSpPr>
          <p:cNvPr id="4" name="Tijdelijke aanduiding voor tekst 3">
            <a:extLst>
              <a:ext uri="{FF2B5EF4-FFF2-40B4-BE49-F238E27FC236}">
                <a16:creationId xmlns:a16="http://schemas.microsoft.com/office/drawing/2014/main" id="{CC9F896D-B48C-001A-4304-76FE6DFA3628}"/>
              </a:ext>
            </a:extLst>
          </p:cNvPr>
          <p:cNvSpPr>
            <a:spLocks noGrp="1"/>
          </p:cNvSpPr>
          <p:nvPr>
            <p:ph type="body" sz="quarter" idx="18"/>
          </p:nvPr>
        </p:nvSpPr>
        <p:spPr/>
        <p:txBody>
          <a:bodyPr/>
          <a:lstStyle/>
          <a:p>
            <a:endParaRPr lang="en-NL"/>
          </a:p>
        </p:txBody>
      </p:sp>
      <p:sp>
        <p:nvSpPr>
          <p:cNvPr id="5" name="Titel 4">
            <a:extLst>
              <a:ext uri="{FF2B5EF4-FFF2-40B4-BE49-F238E27FC236}">
                <a16:creationId xmlns:a16="http://schemas.microsoft.com/office/drawing/2014/main" id="{3EF48E8A-D012-7804-97FA-9C6B189DF4D0}"/>
              </a:ext>
            </a:extLst>
          </p:cNvPr>
          <p:cNvSpPr>
            <a:spLocks noGrp="1"/>
          </p:cNvSpPr>
          <p:nvPr>
            <p:ph type="title"/>
          </p:nvPr>
        </p:nvSpPr>
        <p:spPr/>
        <p:txBody>
          <a:bodyPr/>
          <a:lstStyle/>
          <a:p>
            <a:r>
              <a:rPr lang="en-US">
                <a:latin typeface="Roboto"/>
                <a:ea typeface="Roboto"/>
                <a:cs typeface="Roboto"/>
              </a:rPr>
              <a:t>Lessons learned</a:t>
            </a:r>
            <a:endParaRPr lang="en-N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9113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F2BE22-DC57-1D5D-BE16-6902BDC2E0C1}"/>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A8EC9419-0467-BC8B-0F4B-A6FC7CD55161}"/>
              </a:ext>
            </a:extLst>
          </p:cNvPr>
          <p:cNvSpPr>
            <a:spLocks noGrp="1"/>
          </p:cNvSpPr>
          <p:nvPr>
            <p:ph type="title"/>
          </p:nvPr>
        </p:nvSpPr>
        <p:spPr/>
        <p:txBody>
          <a:bodyPr/>
          <a:lstStyle/>
          <a:p>
            <a:r>
              <a:rPr lang="en-GB"/>
              <a:t>Chapter blue</a:t>
            </a:r>
          </a:p>
        </p:txBody>
      </p:sp>
      <p:sp>
        <p:nvSpPr>
          <p:cNvPr id="6" name="Tijdelijke aanduiding voor tekst 10">
            <a:extLst>
              <a:ext uri="{FF2B5EF4-FFF2-40B4-BE49-F238E27FC236}">
                <a16:creationId xmlns:a16="http://schemas.microsoft.com/office/drawing/2014/main" id="{1919A240-CA90-8E23-2E89-9BE785B78243}"/>
              </a:ext>
            </a:extLst>
          </p:cNvPr>
          <p:cNvSpPr txBox="1">
            <a:spLocks/>
          </p:cNvSpPr>
          <p:nvPr/>
        </p:nvSpPr>
        <p:spPr>
          <a:xfrm>
            <a:off x="193040" y="216852"/>
            <a:ext cx="11805920" cy="6424295"/>
          </a:xfrm>
          <a:prstGeom prst="roundRect">
            <a:avLst>
              <a:gd name="adj" fmla="val 3563"/>
            </a:avLst>
          </a:prstGeom>
          <a:solidFill>
            <a:schemeClr val="accent3"/>
          </a:solidFill>
        </p:spPr>
        <p:txBody>
          <a:bodyPr wrap="square">
            <a:noAutofit/>
          </a:bodyPr>
          <a:lstStyle>
            <a:lvl1pPr marL="0" indent="0" algn="l" defTabSz="914400" rtl="0" eaLnBrk="1" latinLnBrk="0" hangingPunct="1">
              <a:lnSpc>
                <a:spcPct val="90000"/>
              </a:lnSpc>
              <a:spcBef>
                <a:spcPts val="600"/>
              </a:spcBef>
              <a:spcAft>
                <a:spcPts val="600"/>
              </a:spcAft>
              <a:buClr>
                <a:schemeClr val="accent1"/>
              </a:buClr>
              <a:buSzPct val="110000"/>
              <a:buFont typeface="Aptos" panose="020B0004020202020204" pitchFamily="34" charset="0"/>
              <a:buNone/>
              <a:defRPr sz="100" kern="1200">
                <a:solidFill>
                  <a:schemeClr val="tx1"/>
                </a:solidFill>
                <a:latin typeface="+mn-lt"/>
                <a:ea typeface="+mn-ea"/>
                <a:cs typeface="+mn-cs"/>
              </a:defRPr>
            </a:lvl1pPr>
            <a:lvl2pPr marL="355600" indent="-177800" algn="l" defTabSz="914400" rtl="0" eaLnBrk="1" latinLnBrk="0" hangingPunct="1">
              <a:lnSpc>
                <a:spcPct val="90000"/>
              </a:lnSpc>
              <a:spcBef>
                <a:spcPts val="600"/>
              </a:spcBef>
              <a:spcAft>
                <a:spcPts val="600"/>
              </a:spcAft>
              <a:buClr>
                <a:schemeClr val="tx2"/>
              </a:buClr>
              <a:buFont typeface="Aptos" panose="020B0004020202020204" pitchFamily="34" charset="0"/>
              <a:buChar char="•"/>
              <a:tabLst/>
              <a:defRPr sz="1600" kern="1200">
                <a:solidFill>
                  <a:schemeClr val="tx1"/>
                </a:solidFill>
                <a:latin typeface="+mn-lt"/>
                <a:ea typeface="+mn-ea"/>
                <a:cs typeface="+mn-cs"/>
              </a:defRPr>
            </a:lvl2pPr>
            <a:lvl3pPr marL="531813" indent="-176213"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1600" kern="1200">
                <a:solidFill>
                  <a:schemeClr val="tx1"/>
                </a:solidFill>
                <a:latin typeface="+mn-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5"/>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2"/>
                </a:solidFill>
                <a:latin typeface="+mj-lt"/>
                <a:ea typeface="+mn-ea"/>
                <a:cs typeface="+mn-cs"/>
              </a:defRPr>
            </a:lvl6pPr>
            <a:lvl7pPr marL="342900" indent="-342900" algn="l" defTabSz="914400" rtl="0" eaLnBrk="1" latinLnBrk="0" hangingPunct="1">
              <a:lnSpc>
                <a:spcPct val="90000"/>
              </a:lnSpc>
              <a:spcBef>
                <a:spcPts val="600"/>
              </a:spcBef>
              <a:spcAft>
                <a:spcPts val="600"/>
              </a:spcAft>
              <a:buClr>
                <a:schemeClr val="tx2"/>
              </a:buClr>
              <a:buFont typeface="+mj-lt"/>
              <a:buAutoNum type="arabicPeriod"/>
              <a:tabLst/>
              <a:defRPr sz="1600" kern="1200">
                <a:solidFill>
                  <a:schemeClr val="tx1"/>
                </a:solidFill>
                <a:latin typeface="+mn-lt"/>
                <a:ea typeface="+mn-ea"/>
                <a:cs typeface="+mn-cs"/>
              </a:defRPr>
            </a:lvl7pPr>
            <a:lvl8pPr marL="342900" indent="-342900" algn="l" defTabSz="914400" rtl="0" eaLnBrk="1" latinLnBrk="0" hangingPunct="1">
              <a:lnSpc>
                <a:spcPct val="90000"/>
              </a:lnSpc>
              <a:spcBef>
                <a:spcPts val="600"/>
              </a:spcBef>
              <a:spcAft>
                <a:spcPts val="600"/>
              </a:spcAft>
              <a:buClr>
                <a:schemeClr val="tx2"/>
              </a:buClr>
              <a:buFont typeface="+mj-lt"/>
              <a:buAutoNum type="alphaLcPeriod"/>
              <a:defRPr sz="1600" kern="1200">
                <a:solidFill>
                  <a:schemeClr val="tx1"/>
                </a:solidFill>
                <a:latin typeface="+mn-lt"/>
                <a:ea typeface="+mn-ea"/>
                <a:cs typeface="+mn-cs"/>
              </a:defRPr>
            </a:lvl8pPr>
            <a:lvl9pPr marL="541338" indent="-180975"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F6DA44"/>
              </a:buClr>
              <a:buSzPct val="110000"/>
              <a:buFont typeface="Aptos" panose="020B0004020202020204" pitchFamily="34" charset="0"/>
              <a:buNone/>
              <a:tabLst/>
              <a:defRPr/>
            </a:pPr>
            <a:r>
              <a:rPr kumimoji="0" lang="en-GB" sz="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p>
        </p:txBody>
      </p:sp>
      <p:sp>
        <p:nvSpPr>
          <p:cNvPr id="10" name="Tekstvak 9">
            <a:extLst>
              <a:ext uri="{FF2B5EF4-FFF2-40B4-BE49-F238E27FC236}">
                <a16:creationId xmlns:a16="http://schemas.microsoft.com/office/drawing/2014/main" id="{C7A8E248-5E93-973B-F247-E5CC68C58CFA}"/>
              </a:ext>
            </a:extLst>
          </p:cNvPr>
          <p:cNvSpPr txBox="1"/>
          <p:nvPr/>
        </p:nvSpPr>
        <p:spPr>
          <a:xfrm>
            <a:off x="902979" y="2987073"/>
            <a:ext cx="9495938" cy="940292"/>
          </a:xfrm>
          <a:prstGeom prst="rect">
            <a:avLst/>
          </a:prstGeom>
          <a:noFill/>
        </p:spPr>
        <p:txBody>
          <a:bodyPr wrap="square" lIns="0" tIns="0" rIns="0" bIns="0" rtlCol="0" anchor="b">
            <a:noAutofit/>
          </a:bodyPr>
          <a:lstStyle/>
          <a:p>
            <a:pPr>
              <a:lnSpc>
                <a:spcPct val="80000"/>
              </a:lnSpc>
              <a:defRPr/>
            </a:pPr>
            <a:r>
              <a:rPr lang="en-GB" sz="6600" b="1">
                <a:solidFill>
                  <a:srgbClr val="FFFFFF"/>
                </a:solidFill>
              </a:rPr>
              <a:t>What's next?</a:t>
            </a:r>
            <a:endParaRPr lang="nl-NL">
              <a:ea typeface="+mn-ea"/>
              <a:cs typeface="+mn-cs"/>
            </a:endParaRPr>
          </a:p>
        </p:txBody>
      </p:sp>
      <p:sp>
        <p:nvSpPr>
          <p:cNvPr id="11" name="Tijdelijke aanduiding voor tekst 12">
            <a:extLst>
              <a:ext uri="{FF2B5EF4-FFF2-40B4-BE49-F238E27FC236}">
                <a16:creationId xmlns:a16="http://schemas.microsoft.com/office/drawing/2014/main" id="{CDCBBCA4-8E58-3F9C-13B1-6B01F528F017}"/>
              </a:ext>
            </a:extLst>
          </p:cNvPr>
          <p:cNvSpPr txBox="1">
            <a:spLocks/>
          </p:cNvSpPr>
          <p:nvPr/>
        </p:nvSpPr>
        <p:spPr>
          <a:xfrm>
            <a:off x="708207" y="3123000"/>
            <a:ext cx="36000" cy="612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lgn="l" defTabSz="914400" rtl="0" eaLnBrk="1" latinLnBrk="0" hangingPunct="1">
              <a:lnSpc>
                <a:spcPct val="90000"/>
              </a:lnSpc>
              <a:spcBef>
                <a:spcPts val="600"/>
              </a:spcBef>
              <a:spcAft>
                <a:spcPts val="600"/>
              </a:spcAft>
              <a:buClr>
                <a:schemeClr val="accent4"/>
              </a:buClr>
              <a:buSzPct val="100000"/>
              <a:buFontTx/>
              <a:buNone/>
              <a:defRPr sz="100" kern="1200">
                <a:solidFill>
                  <a:schemeClr val="tx1"/>
                </a:solidFill>
                <a:latin typeface="+mn-lt"/>
                <a:ea typeface="+mn-ea"/>
                <a:cs typeface="+mn-cs"/>
              </a:defRPr>
            </a:lvl1pPr>
            <a:lvl2pPr marL="0" indent="0" algn="l" defTabSz="914400" rtl="0" eaLnBrk="1" latinLnBrk="0" hangingPunct="1">
              <a:lnSpc>
                <a:spcPct val="90000"/>
              </a:lnSpc>
              <a:spcBef>
                <a:spcPts val="600"/>
              </a:spcBef>
              <a:spcAft>
                <a:spcPts val="600"/>
              </a:spcAft>
              <a:buClr>
                <a:schemeClr val="tx2"/>
              </a:buClr>
              <a:buFont typeface="Aptos" panose="020B0004020202020204" pitchFamily="34" charset="0"/>
              <a:buNone/>
              <a:tabLst/>
              <a:defRPr sz="1600" kern="1200">
                <a:solidFill>
                  <a:schemeClr val="tx1"/>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tx2"/>
              </a:buClr>
              <a:buFontTx/>
              <a:buNone/>
              <a:defRPr sz="2000" b="1" kern="1200">
                <a:solidFill>
                  <a:schemeClr val="accent3"/>
                </a:solidFill>
                <a:latin typeface="+mj-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2"/>
                </a:solidFill>
                <a:latin typeface="+mj-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4"/>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5"/>
                </a:solidFill>
                <a:latin typeface="+mj-lt"/>
                <a:ea typeface="+mn-ea"/>
                <a:cs typeface="+mn-cs"/>
              </a:defRPr>
            </a:lvl6pPr>
            <a:lvl7pPr marL="0" indent="0" algn="l" defTabSz="914400" rtl="0" eaLnBrk="1" latinLnBrk="0" hangingPunct="1">
              <a:lnSpc>
                <a:spcPct val="90000"/>
              </a:lnSpc>
              <a:spcBef>
                <a:spcPts val="600"/>
              </a:spcBef>
              <a:spcAft>
                <a:spcPts val="600"/>
              </a:spcAft>
              <a:buClr>
                <a:schemeClr val="tx2"/>
              </a:buClr>
              <a:buFontTx/>
              <a:buNone/>
              <a:tabLst/>
              <a:defRPr sz="1400" b="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Clr>
                <a:schemeClr val="tx2"/>
              </a:buClr>
              <a:buFontTx/>
              <a:buNone/>
              <a:defRPr sz="1800" b="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tx2"/>
              </a:buClr>
              <a:buFontTx/>
              <a:buNone/>
              <a:tabLst/>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E7303A"/>
              </a:buClr>
              <a:buSzPct val="100000"/>
              <a:buFontTx/>
              <a:buNone/>
              <a:tabLst/>
              <a:defRPr/>
            </a:pPr>
            <a:r>
              <a:rPr kumimoji="0" lang="en-GB" sz="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p>
        </p:txBody>
      </p:sp>
      <p:sp>
        <p:nvSpPr>
          <p:cNvPr id="15" name="Tijdelijke aanduiding voor tekst 15">
            <a:extLst>
              <a:ext uri="{FF2B5EF4-FFF2-40B4-BE49-F238E27FC236}">
                <a16:creationId xmlns:a16="http://schemas.microsoft.com/office/drawing/2014/main" id="{72A19048-C119-8C2C-58EB-35D7ECB703FA}"/>
              </a:ext>
            </a:extLst>
          </p:cNvPr>
          <p:cNvSpPr txBox="1">
            <a:spLocks/>
          </p:cNvSpPr>
          <p:nvPr/>
        </p:nvSpPr>
        <p:spPr>
          <a:xfrm>
            <a:off x="720000" y="6060536"/>
            <a:ext cx="932400" cy="475200"/>
          </a:xfrm>
          <a:prstGeom prst="rect">
            <a:avLst/>
          </a:prstGeom>
          <a:blipFill>
            <a:blip r:embed="rId3"/>
            <a:stretch>
              <a:fillRect/>
            </a:stretch>
          </a:blipFill>
        </p:spPr>
        <p:txBody>
          <a:bodyPr/>
          <a:lstStyle>
            <a:lvl1pPr marL="0" indent="0" algn="l" defTabSz="914400" rtl="0" eaLnBrk="1" latinLnBrk="0" hangingPunct="1">
              <a:lnSpc>
                <a:spcPct val="90000"/>
              </a:lnSpc>
              <a:spcBef>
                <a:spcPts val="600"/>
              </a:spcBef>
              <a:spcAft>
                <a:spcPts val="600"/>
              </a:spcAft>
              <a:buClr>
                <a:schemeClr val="accent4"/>
              </a:buClr>
              <a:buSzPct val="100000"/>
              <a:buFontTx/>
              <a:buNone/>
              <a:defRPr sz="100" kern="1200">
                <a:solidFill>
                  <a:schemeClr val="tx1"/>
                </a:solidFill>
                <a:latin typeface="+mn-lt"/>
                <a:ea typeface="+mn-ea"/>
                <a:cs typeface="+mn-cs"/>
              </a:defRPr>
            </a:lvl1pPr>
            <a:lvl2pPr marL="0" indent="0" algn="l" defTabSz="914400" rtl="0" eaLnBrk="1" latinLnBrk="0" hangingPunct="1">
              <a:lnSpc>
                <a:spcPct val="90000"/>
              </a:lnSpc>
              <a:spcBef>
                <a:spcPts val="600"/>
              </a:spcBef>
              <a:spcAft>
                <a:spcPts val="600"/>
              </a:spcAft>
              <a:buClr>
                <a:schemeClr val="tx2"/>
              </a:buClr>
              <a:buFont typeface="Aptos" panose="020B0004020202020204" pitchFamily="34" charset="0"/>
              <a:buNone/>
              <a:tabLst/>
              <a:defRPr sz="1600" kern="1200">
                <a:solidFill>
                  <a:schemeClr val="tx1"/>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tx2"/>
              </a:buClr>
              <a:buFontTx/>
              <a:buNone/>
              <a:defRPr sz="2000" b="1" kern="1200">
                <a:solidFill>
                  <a:schemeClr val="accent3"/>
                </a:solidFill>
                <a:latin typeface="+mj-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2"/>
                </a:solidFill>
                <a:latin typeface="+mj-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4"/>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5"/>
                </a:solidFill>
                <a:latin typeface="+mj-lt"/>
                <a:ea typeface="+mn-ea"/>
                <a:cs typeface="+mn-cs"/>
              </a:defRPr>
            </a:lvl6pPr>
            <a:lvl7pPr marL="0" indent="0" algn="l" defTabSz="914400" rtl="0" eaLnBrk="1" latinLnBrk="0" hangingPunct="1">
              <a:lnSpc>
                <a:spcPct val="90000"/>
              </a:lnSpc>
              <a:spcBef>
                <a:spcPts val="600"/>
              </a:spcBef>
              <a:spcAft>
                <a:spcPts val="600"/>
              </a:spcAft>
              <a:buClr>
                <a:schemeClr val="tx2"/>
              </a:buClr>
              <a:buFontTx/>
              <a:buNone/>
              <a:tabLst/>
              <a:defRPr sz="1400" b="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Clr>
                <a:schemeClr val="tx2"/>
              </a:buClr>
              <a:buFontTx/>
              <a:buNone/>
              <a:defRPr sz="1800" b="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tx2"/>
              </a:buClr>
              <a:buFontTx/>
              <a:buNone/>
              <a:tabLst/>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E7303A"/>
              </a:buClr>
              <a:buSzPct val="100000"/>
              <a:buFontTx/>
              <a:buNone/>
              <a:tabLst/>
              <a:defRPr/>
            </a:pPr>
            <a:r>
              <a:rPr kumimoji="0" lang="en-GB" sz="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p>
        </p:txBody>
      </p:sp>
    </p:spTree>
    <p:extLst>
      <p:ext uri="{BB962C8B-B14F-4D97-AF65-F5344CB8AC3E}">
        <p14:creationId xmlns:p14="http://schemas.microsoft.com/office/powerpoint/2010/main" val="3099353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B447BD-782C-32B9-C16A-47BD15867AF7}"/>
            </a:ext>
          </a:extLst>
        </p:cNvPr>
        <p:cNvGrpSpPr/>
        <p:nvPr/>
      </p:nvGrpSpPr>
      <p:grpSpPr>
        <a:xfrm>
          <a:off x="0" y="0"/>
          <a:ext cx="0" cy="0"/>
          <a:chOff x="0" y="0"/>
          <a:chExt cx="0" cy="0"/>
        </a:xfrm>
      </p:grpSpPr>
      <p:pic>
        <p:nvPicPr>
          <p:cNvPr id="11" name="Tijdelijke aanduiding voor afbeelding 10" descr="Afbeelding met plafond, publiek, overdekt, massa&#10;&#10;Automatisch gegenereerde beschrijving">
            <a:extLst>
              <a:ext uri="{FF2B5EF4-FFF2-40B4-BE49-F238E27FC236}">
                <a16:creationId xmlns:a16="http://schemas.microsoft.com/office/drawing/2014/main" id="{A2D24983-30B5-8BF8-ACF8-9E5A1574BF79}"/>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16698" r="16698"/>
          <a:stretch>
            <a:fillRect/>
          </a:stretch>
        </p:blipFill>
        <p:spPr>
          <a:xfrm>
            <a:off x="6947316" y="713241"/>
            <a:ext cx="4515989" cy="4529818"/>
          </a:xfrm>
        </p:spPr>
      </p:pic>
      <p:sp>
        <p:nvSpPr>
          <p:cNvPr id="2" name="Tijdelijke aanduiding voor tekst 1">
            <a:extLst>
              <a:ext uri="{FF2B5EF4-FFF2-40B4-BE49-F238E27FC236}">
                <a16:creationId xmlns:a16="http://schemas.microsoft.com/office/drawing/2014/main" id="{6FAFDCC5-8E66-7020-E09D-BB7C81BDCD6D}"/>
              </a:ext>
            </a:extLst>
          </p:cNvPr>
          <p:cNvSpPr>
            <a:spLocks noGrp="1"/>
          </p:cNvSpPr>
          <p:nvPr>
            <p:ph type="body" sz="quarter" idx="15"/>
          </p:nvPr>
        </p:nvSpPr>
        <p:spPr/>
        <p:txBody>
          <a:bodyPr/>
          <a:lstStyle/>
          <a:p>
            <a:r>
              <a:rPr lang="nl-NL"/>
              <a:t> </a:t>
            </a:r>
          </a:p>
        </p:txBody>
      </p:sp>
      <p:sp>
        <p:nvSpPr>
          <p:cNvPr id="3" name="Tijdelijke aanduiding voor tekst 2">
            <a:extLst>
              <a:ext uri="{FF2B5EF4-FFF2-40B4-BE49-F238E27FC236}">
                <a16:creationId xmlns:a16="http://schemas.microsoft.com/office/drawing/2014/main" id="{C9AFDBD7-38FC-1527-10EE-6DBE1F64A08A}"/>
              </a:ext>
            </a:extLst>
          </p:cNvPr>
          <p:cNvSpPr>
            <a:spLocks noGrp="1"/>
          </p:cNvSpPr>
          <p:nvPr>
            <p:ph type="body" sz="quarter" idx="18"/>
          </p:nvPr>
        </p:nvSpPr>
        <p:spPr/>
        <p:txBody>
          <a:bodyPr/>
          <a:lstStyle/>
          <a:p>
            <a:r>
              <a:rPr lang="nl-NL"/>
              <a:t> </a:t>
            </a:r>
          </a:p>
        </p:txBody>
      </p:sp>
      <p:sp>
        <p:nvSpPr>
          <p:cNvPr id="4" name="Titel 3">
            <a:extLst>
              <a:ext uri="{FF2B5EF4-FFF2-40B4-BE49-F238E27FC236}">
                <a16:creationId xmlns:a16="http://schemas.microsoft.com/office/drawing/2014/main" id="{B6DF1479-A0D3-FD4C-CDC7-DFAFF237E2A0}"/>
              </a:ext>
            </a:extLst>
          </p:cNvPr>
          <p:cNvSpPr>
            <a:spLocks noGrp="1"/>
          </p:cNvSpPr>
          <p:nvPr>
            <p:ph type="title"/>
          </p:nvPr>
        </p:nvSpPr>
        <p:spPr>
          <a:xfrm>
            <a:off x="865163" y="713242"/>
            <a:ext cx="6539844" cy="396639"/>
          </a:xfrm>
        </p:spPr>
        <p:txBody>
          <a:bodyPr/>
          <a:lstStyle/>
          <a:p>
            <a:r>
              <a:rPr lang="en-GB"/>
              <a:t>Other interested EU Alliances</a:t>
            </a:r>
            <a:endParaRPr lang="nl-NL"/>
          </a:p>
        </p:txBody>
      </p:sp>
      <p:pic>
        <p:nvPicPr>
          <p:cNvPr id="14" name="Tijdelijke aanduiding voor inhoud 13" descr="OpenAIRE and Aurora Universities Network collaboration">
            <a:extLst>
              <a:ext uri="{FF2B5EF4-FFF2-40B4-BE49-F238E27FC236}">
                <a16:creationId xmlns:a16="http://schemas.microsoft.com/office/drawing/2014/main" id="{DDCEE6CC-C90E-1A71-DCF1-850AD466FB22}"/>
              </a:ext>
            </a:extLst>
          </p:cNvPr>
          <p:cNvPicPr>
            <a:picLocks noGrp="1" noChangeAspect="1"/>
          </p:cNvPicPr>
          <p:nvPr>
            <p:ph idx="21"/>
          </p:nvPr>
        </p:nvPicPr>
        <p:blipFill>
          <a:blip r:embed="rId3"/>
          <a:stretch>
            <a:fillRect/>
          </a:stretch>
        </p:blipFill>
        <p:spPr>
          <a:xfrm>
            <a:off x="436240" y="1944256"/>
            <a:ext cx="2883249" cy="1087664"/>
          </a:xfrm>
        </p:spPr>
      </p:pic>
      <p:pic>
        <p:nvPicPr>
          <p:cNvPr id="5" name="Afbeelding 4" descr="Eötvös Loránd University">
            <a:extLst>
              <a:ext uri="{FF2B5EF4-FFF2-40B4-BE49-F238E27FC236}">
                <a16:creationId xmlns:a16="http://schemas.microsoft.com/office/drawing/2014/main" id="{D2D956D4-ACC3-D39A-CC5A-B75815FB5698}"/>
              </a:ext>
            </a:extLst>
          </p:cNvPr>
          <p:cNvPicPr>
            <a:picLocks noChangeAspect="1"/>
          </p:cNvPicPr>
          <p:nvPr/>
        </p:nvPicPr>
        <p:blipFill>
          <a:blip r:embed="rId4"/>
          <a:stretch>
            <a:fillRect/>
          </a:stretch>
        </p:blipFill>
        <p:spPr>
          <a:xfrm>
            <a:off x="3396808" y="3698036"/>
            <a:ext cx="2609965" cy="1694895"/>
          </a:xfrm>
          <a:prstGeom prst="rect">
            <a:avLst/>
          </a:prstGeom>
        </p:spPr>
      </p:pic>
    </p:spTree>
    <p:extLst>
      <p:ext uri="{BB962C8B-B14F-4D97-AF65-F5344CB8AC3E}">
        <p14:creationId xmlns:p14="http://schemas.microsoft.com/office/powerpoint/2010/main" val="2605765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CAEADA91-847C-D658-98F9-1F3B062E8661}"/>
              </a:ext>
            </a:extLst>
          </p:cNvPr>
          <p:cNvSpPr>
            <a:spLocks noGrp="1"/>
          </p:cNvSpPr>
          <p:nvPr>
            <p:ph type="body" sz="quarter" idx="14"/>
          </p:nvPr>
        </p:nvSpPr>
        <p:spPr/>
        <p:txBody>
          <a:bodyPr/>
          <a:lstStyle/>
          <a:p>
            <a:r>
              <a:rPr lang="en-GB"/>
              <a:t> </a:t>
            </a:r>
          </a:p>
        </p:txBody>
      </p:sp>
      <p:sp>
        <p:nvSpPr>
          <p:cNvPr id="3" name="Tijdelijke aanduiding voor tekst 2">
            <a:extLst>
              <a:ext uri="{FF2B5EF4-FFF2-40B4-BE49-F238E27FC236}">
                <a16:creationId xmlns:a16="http://schemas.microsoft.com/office/drawing/2014/main" id="{290FA9A6-6445-7EF8-224B-C6624A8F11F4}"/>
              </a:ext>
            </a:extLst>
          </p:cNvPr>
          <p:cNvSpPr>
            <a:spLocks noGrp="1"/>
          </p:cNvSpPr>
          <p:nvPr>
            <p:ph type="body" sz="quarter" idx="18"/>
          </p:nvPr>
        </p:nvSpPr>
        <p:spPr/>
        <p:txBody>
          <a:bodyPr/>
          <a:lstStyle/>
          <a:p>
            <a:r>
              <a:rPr lang="en-GB"/>
              <a:t> </a:t>
            </a:r>
          </a:p>
        </p:txBody>
      </p:sp>
      <p:sp>
        <p:nvSpPr>
          <p:cNvPr id="4" name="Titel 3">
            <a:extLst>
              <a:ext uri="{FF2B5EF4-FFF2-40B4-BE49-F238E27FC236}">
                <a16:creationId xmlns:a16="http://schemas.microsoft.com/office/drawing/2014/main" id="{84F17D96-5A0C-F7B7-525A-326D33ED1ED4}"/>
              </a:ext>
            </a:extLst>
          </p:cNvPr>
          <p:cNvSpPr>
            <a:spLocks noGrp="1"/>
          </p:cNvSpPr>
          <p:nvPr>
            <p:ph type="title"/>
          </p:nvPr>
        </p:nvSpPr>
        <p:spPr/>
        <p:txBody>
          <a:bodyPr/>
          <a:lstStyle/>
          <a:p>
            <a:r>
              <a:rPr lang="en-GB"/>
              <a:t>What’s next?</a:t>
            </a:r>
          </a:p>
        </p:txBody>
      </p:sp>
      <p:cxnSp>
        <p:nvCxnSpPr>
          <p:cNvPr id="9" name="Rechte verbindingslijn 8">
            <a:extLst>
              <a:ext uri="{FF2B5EF4-FFF2-40B4-BE49-F238E27FC236}">
                <a16:creationId xmlns:a16="http://schemas.microsoft.com/office/drawing/2014/main" id="{634A0282-19B6-BDFC-368D-F7F5AA435535}"/>
              </a:ext>
            </a:extLst>
          </p:cNvPr>
          <p:cNvCxnSpPr>
            <a:cxnSpLocks/>
          </p:cNvCxnSpPr>
          <p:nvPr/>
        </p:nvCxnSpPr>
        <p:spPr>
          <a:xfrm>
            <a:off x="740021" y="3703604"/>
            <a:ext cx="10715956"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21" name="Rechthoek: afgeronde hoeken 20">
            <a:extLst>
              <a:ext uri="{FF2B5EF4-FFF2-40B4-BE49-F238E27FC236}">
                <a16:creationId xmlns:a16="http://schemas.microsoft.com/office/drawing/2014/main" id="{4E20E5DB-D565-EA91-3CCB-4DDF90BD0C9B}"/>
              </a:ext>
            </a:extLst>
          </p:cNvPr>
          <p:cNvSpPr/>
          <p:nvPr/>
        </p:nvSpPr>
        <p:spPr>
          <a:xfrm>
            <a:off x="714375" y="3590650"/>
            <a:ext cx="215786" cy="217534"/>
          </a:xfrm>
          <a:prstGeom prst="round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0" marR="0" lvl="0" indent="0" algn="ctr" defTabSz="914400" rtl="0" eaLnBrk="1" fontAlgn="auto" latinLnBrk="0" hangingPunct="1">
              <a:lnSpc>
                <a:spcPct val="90000"/>
              </a:lnSpc>
              <a:spcBef>
                <a:spcPts val="200"/>
              </a:spcBef>
              <a:spcAft>
                <a:spcPts val="20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cxnSp>
        <p:nvCxnSpPr>
          <p:cNvPr id="14" name="Rechte verbindingslijn 13">
            <a:extLst>
              <a:ext uri="{FF2B5EF4-FFF2-40B4-BE49-F238E27FC236}">
                <a16:creationId xmlns:a16="http://schemas.microsoft.com/office/drawing/2014/main" id="{5C7B8437-5C6F-3170-93CE-3C9278322B1C}"/>
              </a:ext>
            </a:extLst>
          </p:cNvPr>
          <p:cNvCxnSpPr>
            <a:cxnSpLocks/>
            <a:endCxn id="16" idx="0"/>
          </p:cNvCxnSpPr>
          <p:nvPr/>
        </p:nvCxnSpPr>
        <p:spPr>
          <a:xfrm>
            <a:off x="2250692" y="2913443"/>
            <a:ext cx="0" cy="377518"/>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16" name="Rechthoek: afgeronde hoeken 15">
            <a:extLst>
              <a:ext uri="{FF2B5EF4-FFF2-40B4-BE49-F238E27FC236}">
                <a16:creationId xmlns:a16="http://schemas.microsoft.com/office/drawing/2014/main" id="{8C52D13D-695F-BFCE-BF8D-39184259973F}"/>
              </a:ext>
            </a:extLst>
          </p:cNvPr>
          <p:cNvSpPr/>
          <p:nvPr/>
        </p:nvSpPr>
        <p:spPr>
          <a:xfrm>
            <a:off x="1898314" y="3290961"/>
            <a:ext cx="704756" cy="710466"/>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200"/>
              </a:spcBef>
              <a:spcAft>
                <a:spcPts val="200"/>
              </a:spcAft>
              <a:buClrTx/>
              <a:buSzTx/>
              <a:buFontTx/>
              <a:buNone/>
              <a:tabLst/>
              <a:defRPr/>
            </a:pPr>
            <a:endParaRPr kumimoji="0" lang="en-GB"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29" name="Tekstvak 28">
            <a:extLst>
              <a:ext uri="{FF2B5EF4-FFF2-40B4-BE49-F238E27FC236}">
                <a16:creationId xmlns:a16="http://schemas.microsoft.com/office/drawing/2014/main" id="{EECA922D-5A95-830E-6F8B-3C7D5074AE96}"/>
              </a:ext>
            </a:extLst>
          </p:cNvPr>
          <p:cNvSpPr txBox="1"/>
          <p:nvPr/>
        </p:nvSpPr>
        <p:spPr>
          <a:xfrm>
            <a:off x="1318148" y="1801346"/>
            <a:ext cx="1865088" cy="514597"/>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tab pos="2149475" algn="l"/>
              </a:tabLst>
              <a:defRPr/>
            </a:pPr>
            <a:r>
              <a:rPr kumimoji="0" lang="en-GB" sz="1800" b="1" i="0" u="none" strike="noStrike" kern="1200" cap="none" spc="0" normalizeH="0" baseline="0" noProof="0">
                <a:ln>
                  <a:noFill/>
                </a:ln>
                <a:solidFill>
                  <a:srgbClr val="070809"/>
                </a:solidFill>
                <a:effectLst/>
                <a:uLnTx/>
                <a:uFillTx/>
                <a:latin typeface="+mn-lt"/>
                <a:ea typeface="+mn-ea"/>
                <a:cs typeface="+mn-cs"/>
              </a:rPr>
              <a:t>Inclusion of all EuroTeQ partners via </a:t>
            </a:r>
            <a:r>
              <a:rPr kumimoji="0" lang="en-GB" sz="1800" b="1" i="0" u="none" strike="noStrike" kern="1200" cap="none" spc="0" normalizeH="0" baseline="0" noProof="0" err="1">
                <a:ln>
                  <a:noFill/>
                </a:ln>
                <a:solidFill>
                  <a:srgbClr val="070809"/>
                </a:solidFill>
                <a:effectLst/>
                <a:uLnTx/>
                <a:uFillTx/>
                <a:latin typeface="+mn-lt"/>
                <a:ea typeface="+mn-ea"/>
                <a:cs typeface="+mn-cs"/>
              </a:rPr>
              <a:t>MyAcademicID</a:t>
            </a:r>
            <a:endParaRPr kumimoji="0" lang="en-GB" sz="1800" b="1" i="0" u="none" strike="noStrike" kern="1200" cap="none" spc="0" normalizeH="0" baseline="0" noProof="0">
              <a:ln>
                <a:noFill/>
              </a:ln>
              <a:solidFill>
                <a:srgbClr val="070809"/>
              </a:solidFill>
              <a:effectLst/>
              <a:uLnTx/>
              <a:uFillTx/>
              <a:latin typeface="+mn-lt"/>
              <a:ea typeface="+mn-ea"/>
              <a:cs typeface="+mn-cs"/>
            </a:endParaRPr>
          </a:p>
        </p:txBody>
      </p:sp>
      <p:sp>
        <p:nvSpPr>
          <p:cNvPr id="34" name="Tekstvak 33">
            <a:extLst>
              <a:ext uri="{FF2B5EF4-FFF2-40B4-BE49-F238E27FC236}">
                <a16:creationId xmlns:a16="http://schemas.microsoft.com/office/drawing/2014/main" id="{12769ABD-BEFD-9EC7-277C-A8A894F1B1E0}"/>
              </a:ext>
            </a:extLst>
          </p:cNvPr>
          <p:cNvSpPr txBox="1"/>
          <p:nvPr/>
        </p:nvSpPr>
        <p:spPr>
          <a:xfrm>
            <a:off x="3724612" y="4521510"/>
            <a:ext cx="1865088" cy="514597"/>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tab pos="2149475" algn="l"/>
              </a:tabLst>
              <a:defRPr/>
            </a:pPr>
            <a:r>
              <a:rPr kumimoji="0" lang="en-GB" sz="1800" b="1" i="0" u="none" strike="noStrike" kern="1200" cap="none" spc="0" normalizeH="0" baseline="0" noProof="0">
                <a:ln>
                  <a:noFill/>
                </a:ln>
                <a:solidFill>
                  <a:srgbClr val="070809"/>
                </a:solidFill>
                <a:effectLst/>
                <a:uLnTx/>
                <a:uFillTx/>
                <a:latin typeface="+mn-lt"/>
                <a:ea typeface="+mn-ea"/>
                <a:cs typeface="+mn-cs"/>
              </a:rPr>
              <a:t>Other alliances using the same solution</a:t>
            </a:r>
          </a:p>
        </p:txBody>
      </p:sp>
      <p:sp>
        <p:nvSpPr>
          <p:cNvPr id="37" name="Rechthoek: afgeronde hoeken 36">
            <a:extLst>
              <a:ext uri="{FF2B5EF4-FFF2-40B4-BE49-F238E27FC236}">
                <a16:creationId xmlns:a16="http://schemas.microsoft.com/office/drawing/2014/main" id="{17D1E69F-2065-7252-7030-B5DC740A4CA0}"/>
              </a:ext>
            </a:extLst>
          </p:cNvPr>
          <p:cNvSpPr/>
          <p:nvPr/>
        </p:nvSpPr>
        <p:spPr>
          <a:xfrm>
            <a:off x="4304779" y="3290961"/>
            <a:ext cx="704756" cy="71046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200"/>
              </a:spcBef>
              <a:spcAft>
                <a:spcPts val="200"/>
              </a:spcAft>
              <a:buClrTx/>
              <a:buSzTx/>
              <a:buFontTx/>
              <a:buNone/>
              <a:tabLst/>
              <a:defRPr/>
            </a:pPr>
            <a:endParaRPr kumimoji="0" lang="en-GB" b="1" i="0" u="none" strike="noStrike" kern="1200" cap="none" spc="0" normalizeH="0" baseline="0" noProof="0">
              <a:ln>
                <a:noFill/>
              </a:ln>
              <a:solidFill>
                <a:schemeClr val="tx2"/>
              </a:solidFill>
              <a:effectLst/>
              <a:uLnTx/>
              <a:uFillTx/>
              <a:latin typeface="Aptos" panose="020B0004020202020204" pitchFamily="34" charset="0"/>
              <a:ea typeface="+mn-ea"/>
              <a:cs typeface="+mn-cs"/>
            </a:endParaRPr>
          </a:p>
        </p:txBody>
      </p:sp>
      <p:cxnSp>
        <p:nvCxnSpPr>
          <p:cNvPr id="38" name="Rechte verbindingslijn 37">
            <a:extLst>
              <a:ext uri="{FF2B5EF4-FFF2-40B4-BE49-F238E27FC236}">
                <a16:creationId xmlns:a16="http://schemas.microsoft.com/office/drawing/2014/main" id="{8C17904F-B5AC-6FE9-7072-CB56AA49C943}"/>
              </a:ext>
            </a:extLst>
          </p:cNvPr>
          <p:cNvCxnSpPr>
            <a:cxnSpLocks/>
          </p:cNvCxnSpPr>
          <p:nvPr/>
        </p:nvCxnSpPr>
        <p:spPr>
          <a:xfrm>
            <a:off x="4657157" y="4001427"/>
            <a:ext cx="0" cy="377518"/>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44" name="Rechte verbindingslijn 43">
            <a:extLst>
              <a:ext uri="{FF2B5EF4-FFF2-40B4-BE49-F238E27FC236}">
                <a16:creationId xmlns:a16="http://schemas.microsoft.com/office/drawing/2014/main" id="{0F3CCF8B-DFA6-481F-9BC7-77829CB43F38}"/>
              </a:ext>
            </a:extLst>
          </p:cNvPr>
          <p:cNvCxnSpPr>
            <a:cxnSpLocks/>
          </p:cNvCxnSpPr>
          <p:nvPr/>
        </p:nvCxnSpPr>
        <p:spPr>
          <a:xfrm>
            <a:off x="6875214" y="2913443"/>
            <a:ext cx="0" cy="377518"/>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45" name="Rechthoek: afgeronde hoeken 44">
            <a:extLst>
              <a:ext uri="{FF2B5EF4-FFF2-40B4-BE49-F238E27FC236}">
                <a16:creationId xmlns:a16="http://schemas.microsoft.com/office/drawing/2014/main" id="{664F08FA-B120-F2DE-A6B2-923603E14BF9}"/>
              </a:ext>
            </a:extLst>
          </p:cNvPr>
          <p:cNvSpPr/>
          <p:nvPr/>
        </p:nvSpPr>
        <p:spPr>
          <a:xfrm>
            <a:off x="6522836" y="3290961"/>
            <a:ext cx="704756" cy="71046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200"/>
              </a:spcBef>
              <a:spcAft>
                <a:spcPts val="200"/>
              </a:spcAft>
              <a:buClrTx/>
              <a:buSzTx/>
              <a:buFontTx/>
              <a:buNone/>
              <a:tabLst/>
              <a:defRPr/>
            </a:pPr>
            <a:endParaRPr kumimoji="0" lang="en-GB" b="1"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sp>
        <p:nvSpPr>
          <p:cNvPr id="47" name="Tekstvak 46">
            <a:extLst>
              <a:ext uri="{FF2B5EF4-FFF2-40B4-BE49-F238E27FC236}">
                <a16:creationId xmlns:a16="http://schemas.microsoft.com/office/drawing/2014/main" id="{05215A02-C4F8-1E22-1CE7-93B29DCB4B61}"/>
              </a:ext>
            </a:extLst>
          </p:cNvPr>
          <p:cNvSpPr txBox="1"/>
          <p:nvPr/>
        </p:nvSpPr>
        <p:spPr>
          <a:xfrm>
            <a:off x="5935009" y="1807521"/>
            <a:ext cx="1865088" cy="514597"/>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tab pos="2149475" algn="l"/>
              </a:tabLst>
              <a:defRPr/>
            </a:pPr>
            <a:r>
              <a:rPr kumimoji="0" lang="en-GB" sz="1800" b="1" i="0" u="none" strike="noStrike" kern="1200" cap="none" spc="0" normalizeH="0" baseline="0" noProof="0" err="1">
                <a:ln>
                  <a:noFill/>
                </a:ln>
                <a:solidFill>
                  <a:srgbClr val="070809"/>
                </a:solidFill>
                <a:effectLst/>
                <a:uLnTx/>
                <a:uFillTx/>
                <a:latin typeface="+mn-lt"/>
                <a:ea typeface="+mn-ea"/>
                <a:cs typeface="+mn-cs"/>
              </a:rPr>
              <a:t>MyAcademicID</a:t>
            </a:r>
            <a:r>
              <a:rPr kumimoji="0" lang="en-GB" sz="1800" b="1" i="0" u="none" strike="noStrike" kern="1200" cap="none" spc="0" normalizeH="0" baseline="0" noProof="0">
                <a:ln>
                  <a:noFill/>
                </a:ln>
                <a:solidFill>
                  <a:srgbClr val="070809"/>
                </a:solidFill>
                <a:effectLst/>
                <a:uLnTx/>
                <a:uFillTx/>
                <a:latin typeface="+mn-lt"/>
                <a:ea typeface="+mn-ea"/>
                <a:cs typeface="+mn-cs"/>
              </a:rPr>
              <a:t> for professional learners</a:t>
            </a:r>
            <a:br>
              <a:rPr lang="en-GB" sz="1800" b="1" i="0" u="none" strike="noStrike" kern="1200" cap="none" spc="0" normalizeH="0" baseline="0" noProof="0">
                <a:ln>
                  <a:noFill/>
                </a:ln>
                <a:effectLst/>
                <a:uLnTx/>
                <a:uFillTx/>
              </a:rPr>
            </a:br>
            <a:r>
              <a:rPr kumimoji="0" lang="en-GB" sz="1800" i="0" u="none" strike="noStrike" kern="1200" cap="none" spc="0" normalizeH="0" baseline="0" noProof="0">
                <a:ln>
                  <a:noFill/>
                </a:ln>
                <a:solidFill>
                  <a:srgbClr val="070809"/>
                </a:solidFill>
                <a:effectLst/>
                <a:uLnTx/>
                <a:uFillTx/>
                <a:latin typeface="+mn-lt"/>
                <a:ea typeface="+mn-ea"/>
                <a:cs typeface="+mn-cs"/>
              </a:rPr>
              <a:t>Via </a:t>
            </a:r>
            <a:r>
              <a:rPr kumimoji="0" lang="en-GB" sz="1800" i="0" u="none" strike="noStrike" kern="1200" cap="none" spc="0" normalizeH="0" baseline="0" noProof="0" err="1">
                <a:ln>
                  <a:noFill/>
                </a:ln>
                <a:solidFill>
                  <a:srgbClr val="070809"/>
                </a:solidFill>
                <a:effectLst/>
                <a:uLnTx/>
                <a:uFillTx/>
                <a:latin typeface="+mn-lt"/>
                <a:ea typeface="+mn-ea"/>
                <a:cs typeface="+mn-cs"/>
              </a:rPr>
              <a:t>eIDAS</a:t>
            </a:r>
            <a:endParaRPr lang="en-GB" sz="1800" i="0" u="none" strike="noStrike" kern="1200" cap="none" spc="0" normalizeH="0" baseline="0" noProof="0" err="1">
              <a:ln>
                <a:noFill/>
              </a:ln>
              <a:solidFill>
                <a:srgbClr val="070809"/>
              </a:solidFill>
              <a:effectLst/>
              <a:uLnTx/>
              <a:uFillTx/>
              <a:latin typeface="+mn-lt"/>
            </a:endParaRPr>
          </a:p>
        </p:txBody>
      </p:sp>
      <p:sp>
        <p:nvSpPr>
          <p:cNvPr id="50" name="Tekstvak 49">
            <a:extLst>
              <a:ext uri="{FF2B5EF4-FFF2-40B4-BE49-F238E27FC236}">
                <a16:creationId xmlns:a16="http://schemas.microsoft.com/office/drawing/2014/main" id="{20A6F68A-C446-5033-CA07-1443EC5107B5}"/>
              </a:ext>
            </a:extLst>
          </p:cNvPr>
          <p:cNvSpPr txBox="1"/>
          <p:nvPr/>
        </p:nvSpPr>
        <p:spPr>
          <a:xfrm>
            <a:off x="8357509" y="4529884"/>
            <a:ext cx="1865088" cy="514597"/>
          </a:xfrm>
          <a:prstGeom prst="rect">
            <a:avLst/>
          </a:prstGeom>
          <a:noFill/>
        </p:spPr>
        <p:txBody>
          <a:bodyPr wrap="square" lIns="0" tIns="0" rIns="0" bIns="0" rtlCol="0" anchor="t">
            <a:noAutofit/>
          </a:bodyPr>
          <a:lstStyle/>
          <a:p>
            <a:pPr algn="ctr">
              <a:tabLst>
                <a:tab pos="2149475" algn="l"/>
              </a:tabLst>
              <a:defRPr/>
            </a:pPr>
            <a:r>
              <a:rPr lang="en-GB" b="1">
                <a:solidFill>
                  <a:srgbClr val="070809"/>
                </a:solidFill>
              </a:rPr>
              <a:t>World Domination</a:t>
            </a:r>
            <a:endParaRPr lang="en-GB">
              <a:solidFill>
                <a:srgbClr val="000000"/>
              </a:solidFill>
            </a:endParaRPr>
          </a:p>
          <a:p>
            <a:pPr algn="ctr">
              <a:lnSpc>
                <a:spcPct val="90000"/>
              </a:lnSpc>
              <a:spcBef>
                <a:spcPts val="600"/>
              </a:spcBef>
              <a:spcAft>
                <a:spcPts val="600"/>
              </a:spcAft>
              <a:tabLst>
                <a:tab pos="2149475" algn="l"/>
              </a:tabLst>
              <a:defRPr/>
            </a:pPr>
            <a:endParaRPr lang="en-GB" sz="1800" b="1" i="0" u="none" strike="noStrike" kern="1200" cap="none" spc="0" normalizeH="0" baseline="0" noProof="0">
              <a:ln>
                <a:noFill/>
              </a:ln>
              <a:solidFill>
                <a:srgbClr val="070809"/>
              </a:solidFill>
              <a:effectLst/>
              <a:uLnTx/>
              <a:uFillTx/>
              <a:latin typeface="+mn-lt"/>
            </a:endParaRPr>
          </a:p>
        </p:txBody>
      </p:sp>
      <p:sp>
        <p:nvSpPr>
          <p:cNvPr id="53" name="Rechthoek: afgeronde hoeken 52">
            <a:extLst>
              <a:ext uri="{FF2B5EF4-FFF2-40B4-BE49-F238E27FC236}">
                <a16:creationId xmlns:a16="http://schemas.microsoft.com/office/drawing/2014/main" id="{3CAEE7E6-7F74-1928-1737-55CE4C00E38C}"/>
              </a:ext>
            </a:extLst>
          </p:cNvPr>
          <p:cNvSpPr/>
          <p:nvPr/>
        </p:nvSpPr>
        <p:spPr>
          <a:xfrm>
            <a:off x="8937675" y="3299335"/>
            <a:ext cx="704756" cy="710466"/>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200"/>
              </a:spcBef>
              <a:spcAft>
                <a:spcPts val="200"/>
              </a:spcAft>
              <a:buClrTx/>
              <a:buSzTx/>
              <a:buFontTx/>
              <a:buNone/>
              <a:tabLst/>
              <a:defRPr/>
            </a:pPr>
            <a:endParaRPr kumimoji="0" lang="en-GB" b="1" i="0" u="none" strike="noStrike" kern="1200" cap="none" spc="0" normalizeH="0" baseline="0" noProof="0">
              <a:ln>
                <a:noFill/>
              </a:ln>
              <a:solidFill>
                <a:schemeClr val="bg2"/>
              </a:solidFill>
              <a:effectLst/>
              <a:uLnTx/>
              <a:uFillTx/>
              <a:latin typeface="Aptos" panose="020B0004020202020204" pitchFamily="34" charset="0"/>
              <a:ea typeface="+mn-ea"/>
              <a:cs typeface="+mn-cs"/>
            </a:endParaRPr>
          </a:p>
        </p:txBody>
      </p:sp>
      <p:cxnSp>
        <p:nvCxnSpPr>
          <p:cNvPr id="54" name="Rechte verbindingslijn 53">
            <a:extLst>
              <a:ext uri="{FF2B5EF4-FFF2-40B4-BE49-F238E27FC236}">
                <a16:creationId xmlns:a16="http://schemas.microsoft.com/office/drawing/2014/main" id="{25909BC3-F651-5186-68A8-4B7534730020}"/>
              </a:ext>
            </a:extLst>
          </p:cNvPr>
          <p:cNvCxnSpPr>
            <a:cxnSpLocks/>
          </p:cNvCxnSpPr>
          <p:nvPr/>
        </p:nvCxnSpPr>
        <p:spPr>
          <a:xfrm>
            <a:off x="9290053" y="4009801"/>
            <a:ext cx="0" cy="377518"/>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64" name="Rechthoek: afgeronde hoeken 63">
            <a:extLst>
              <a:ext uri="{FF2B5EF4-FFF2-40B4-BE49-F238E27FC236}">
                <a16:creationId xmlns:a16="http://schemas.microsoft.com/office/drawing/2014/main" id="{10EFE80C-FFFF-BEFA-48FC-85B34F70E28A}"/>
              </a:ext>
            </a:extLst>
          </p:cNvPr>
          <p:cNvSpPr/>
          <p:nvPr/>
        </p:nvSpPr>
        <p:spPr>
          <a:xfrm>
            <a:off x="11256516" y="3590650"/>
            <a:ext cx="215786" cy="217534"/>
          </a:xfrm>
          <a:prstGeom prst="round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0" marR="0" lvl="0" indent="0" algn="ctr" defTabSz="914400" rtl="0" eaLnBrk="1" fontAlgn="auto" latinLnBrk="0" hangingPunct="1">
              <a:lnSpc>
                <a:spcPct val="90000"/>
              </a:lnSpc>
              <a:spcBef>
                <a:spcPts val="200"/>
              </a:spcBef>
              <a:spcAft>
                <a:spcPts val="20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pic>
        <p:nvPicPr>
          <p:cNvPr id="5" name="Afbeelding 4" descr="The Brain | Animaniacs Wiki | Fandom">
            <a:extLst>
              <a:ext uri="{FF2B5EF4-FFF2-40B4-BE49-F238E27FC236}">
                <a16:creationId xmlns:a16="http://schemas.microsoft.com/office/drawing/2014/main" id="{D3ABAC76-1C5D-99F1-3B87-C297651303ED}"/>
              </a:ext>
            </a:extLst>
          </p:cNvPr>
          <p:cNvPicPr>
            <a:picLocks noChangeAspect="1"/>
          </p:cNvPicPr>
          <p:nvPr/>
        </p:nvPicPr>
        <p:blipFill>
          <a:blip r:embed="rId3"/>
          <a:stretch>
            <a:fillRect/>
          </a:stretch>
        </p:blipFill>
        <p:spPr>
          <a:xfrm>
            <a:off x="9053984" y="3408799"/>
            <a:ext cx="495300" cy="514350"/>
          </a:xfrm>
          <a:prstGeom prst="rect">
            <a:avLst/>
          </a:prstGeom>
        </p:spPr>
      </p:pic>
    </p:spTree>
    <p:extLst>
      <p:ext uri="{BB962C8B-B14F-4D97-AF65-F5344CB8AC3E}">
        <p14:creationId xmlns:p14="http://schemas.microsoft.com/office/powerpoint/2010/main" val="2805532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Tijdelijke aanduiding voor afbeelding 4" descr="Afbeelding met persoon, Menselijk gezicht, person, vinger&#10;&#10;Automatisch gegenereerde beschrijving">
            <a:extLst>
              <a:ext uri="{FF2B5EF4-FFF2-40B4-BE49-F238E27FC236}">
                <a16:creationId xmlns:a16="http://schemas.microsoft.com/office/drawing/2014/main" id="{049BADDF-9C91-DBF7-102A-FCFF445EC6EF}"/>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8942" b="8942"/>
          <a:stretch>
            <a:fillRect/>
          </a:stretch>
        </p:blipFill>
        <p:spPr/>
      </p:pic>
      <p:sp>
        <p:nvSpPr>
          <p:cNvPr id="15" name="Titel 14">
            <a:extLst>
              <a:ext uri="{FF2B5EF4-FFF2-40B4-BE49-F238E27FC236}">
                <a16:creationId xmlns:a16="http://schemas.microsoft.com/office/drawing/2014/main" id="{483D8BEE-C0DE-16D8-FF92-A1778A35111C}"/>
              </a:ext>
            </a:extLst>
          </p:cNvPr>
          <p:cNvSpPr>
            <a:spLocks noGrp="1"/>
          </p:cNvSpPr>
          <p:nvPr>
            <p:ph type="title"/>
          </p:nvPr>
        </p:nvSpPr>
        <p:spPr/>
        <p:txBody>
          <a:bodyPr/>
          <a:lstStyle/>
          <a:p>
            <a:r>
              <a:rPr lang="en-GB"/>
              <a:t>Closing slide</a:t>
            </a:r>
          </a:p>
        </p:txBody>
      </p:sp>
      <p:sp>
        <p:nvSpPr>
          <p:cNvPr id="8" name="Tijdelijke aanduiding voor tekst 7">
            <a:extLst>
              <a:ext uri="{FF2B5EF4-FFF2-40B4-BE49-F238E27FC236}">
                <a16:creationId xmlns:a16="http://schemas.microsoft.com/office/drawing/2014/main" id="{9488FF5D-13F3-416F-D11A-CE18C884C2BD}"/>
              </a:ext>
            </a:extLst>
          </p:cNvPr>
          <p:cNvSpPr>
            <a:spLocks noGrp="1"/>
          </p:cNvSpPr>
          <p:nvPr>
            <p:ph type="body" sz="quarter" idx="41"/>
          </p:nvPr>
        </p:nvSpPr>
        <p:spPr/>
        <p:txBody>
          <a:bodyPr/>
          <a:lstStyle/>
          <a:p>
            <a:r>
              <a:rPr lang="en-GB"/>
              <a:t> </a:t>
            </a:r>
          </a:p>
        </p:txBody>
      </p:sp>
      <p:sp>
        <p:nvSpPr>
          <p:cNvPr id="7" name="Tijdelijke aanduiding voor tekst 6">
            <a:extLst>
              <a:ext uri="{FF2B5EF4-FFF2-40B4-BE49-F238E27FC236}">
                <a16:creationId xmlns:a16="http://schemas.microsoft.com/office/drawing/2014/main" id="{B74FC5E3-5522-1956-8793-BE2E43873821}"/>
              </a:ext>
            </a:extLst>
          </p:cNvPr>
          <p:cNvSpPr>
            <a:spLocks noGrp="1"/>
          </p:cNvSpPr>
          <p:nvPr>
            <p:ph type="body" sz="quarter" idx="14"/>
          </p:nvPr>
        </p:nvSpPr>
        <p:spPr/>
        <p:txBody>
          <a:bodyPr/>
          <a:lstStyle/>
          <a:p>
            <a:r>
              <a:rPr lang="en-GB"/>
              <a:t> </a:t>
            </a:r>
          </a:p>
        </p:txBody>
      </p:sp>
      <p:sp>
        <p:nvSpPr>
          <p:cNvPr id="9" name="Tijdelijke aanduiding voor tekst 37">
            <a:extLst>
              <a:ext uri="{FF2B5EF4-FFF2-40B4-BE49-F238E27FC236}">
                <a16:creationId xmlns:a16="http://schemas.microsoft.com/office/drawing/2014/main" id="{63C7A08F-CE79-9EE0-7033-C55450FBA1DE}"/>
              </a:ext>
            </a:extLst>
          </p:cNvPr>
          <p:cNvSpPr txBox="1">
            <a:spLocks/>
          </p:cNvSpPr>
          <p:nvPr/>
        </p:nvSpPr>
        <p:spPr>
          <a:xfrm>
            <a:off x="8387146" y="4226695"/>
            <a:ext cx="172516" cy="230024"/>
          </a:xfrm>
          <a:custGeom>
            <a:avLst/>
            <a:gdLst>
              <a:gd name="connsiteX0" fmla="*/ 138437 w 276874"/>
              <a:gd name="connsiteY0" fmla="*/ 80386 h 276874"/>
              <a:gd name="connsiteX1" fmla="*/ 102155 w 276874"/>
              <a:gd name="connsiteY1" fmla="*/ 116668 h 276874"/>
              <a:gd name="connsiteX2" fmla="*/ 138437 w 276874"/>
              <a:gd name="connsiteY2" fmla="*/ 152951 h 276874"/>
              <a:gd name="connsiteX3" fmla="*/ 174719 w 276874"/>
              <a:gd name="connsiteY3" fmla="*/ 116668 h 276874"/>
              <a:gd name="connsiteX4" fmla="*/ 138437 w 276874"/>
              <a:gd name="connsiteY4" fmla="*/ 80386 h 276874"/>
              <a:gd name="connsiteX5" fmla="*/ 138437 w 276874"/>
              <a:gd name="connsiteY5" fmla="*/ 51360 h 276874"/>
              <a:gd name="connsiteX6" fmla="*/ 203745 w 276874"/>
              <a:gd name="connsiteY6" fmla="*/ 117140 h 276874"/>
              <a:gd name="connsiteX7" fmla="*/ 142058 w 276874"/>
              <a:gd name="connsiteY7" fmla="*/ 224144 h 276874"/>
              <a:gd name="connsiteX8" fmla="*/ 138437 w 276874"/>
              <a:gd name="connsiteY8" fmla="*/ 225515 h 276874"/>
              <a:gd name="connsiteX9" fmla="*/ 134816 w 276874"/>
              <a:gd name="connsiteY9" fmla="*/ 224136 h 276874"/>
              <a:gd name="connsiteX10" fmla="*/ 73129 w 276874"/>
              <a:gd name="connsiteY10" fmla="*/ 117140 h 276874"/>
              <a:gd name="connsiteX11" fmla="*/ 138437 w 276874"/>
              <a:gd name="connsiteY11" fmla="*/ 51360 h 276874"/>
              <a:gd name="connsiteX12" fmla="*/ 138437 w 276874"/>
              <a:gd name="connsiteY12" fmla="*/ 28575 h 276874"/>
              <a:gd name="connsiteX13" fmla="*/ 28575 w 276874"/>
              <a:gd name="connsiteY13" fmla="*/ 138437 h 276874"/>
              <a:gd name="connsiteX14" fmla="*/ 138437 w 276874"/>
              <a:gd name="connsiteY14" fmla="*/ 248299 h 276874"/>
              <a:gd name="connsiteX15" fmla="*/ 248299 w 276874"/>
              <a:gd name="connsiteY15" fmla="*/ 138437 h 276874"/>
              <a:gd name="connsiteX16" fmla="*/ 138437 w 276874"/>
              <a:gd name="connsiteY16" fmla="*/ 28575 h 276874"/>
              <a:gd name="connsiteX17" fmla="*/ 37447 w 276874"/>
              <a:gd name="connsiteY17" fmla="*/ 0 h 276874"/>
              <a:gd name="connsiteX18" fmla="*/ 239427 w 276874"/>
              <a:gd name="connsiteY18" fmla="*/ 0 h 276874"/>
              <a:gd name="connsiteX19" fmla="*/ 276874 w 276874"/>
              <a:gd name="connsiteY19" fmla="*/ 37447 h 276874"/>
              <a:gd name="connsiteX20" fmla="*/ 276874 w 276874"/>
              <a:gd name="connsiteY20" fmla="*/ 239427 h 276874"/>
              <a:gd name="connsiteX21" fmla="*/ 239427 w 276874"/>
              <a:gd name="connsiteY21" fmla="*/ 276874 h 276874"/>
              <a:gd name="connsiteX22" fmla="*/ 37447 w 276874"/>
              <a:gd name="connsiteY22" fmla="*/ 276874 h 276874"/>
              <a:gd name="connsiteX23" fmla="*/ 0 w 276874"/>
              <a:gd name="connsiteY23" fmla="*/ 239427 h 276874"/>
              <a:gd name="connsiteX24" fmla="*/ 0 w 276874"/>
              <a:gd name="connsiteY24" fmla="*/ 37447 h 276874"/>
              <a:gd name="connsiteX25" fmla="*/ 37447 w 276874"/>
              <a:gd name="connsiteY25" fmla="*/ 0 h 276874"/>
              <a:gd name="connsiteX0" fmla="*/ 138437 w 276874"/>
              <a:gd name="connsiteY0" fmla="*/ 80386 h 276903"/>
              <a:gd name="connsiteX1" fmla="*/ 102155 w 276874"/>
              <a:gd name="connsiteY1" fmla="*/ 116668 h 276903"/>
              <a:gd name="connsiteX2" fmla="*/ 138437 w 276874"/>
              <a:gd name="connsiteY2" fmla="*/ 152951 h 276903"/>
              <a:gd name="connsiteX3" fmla="*/ 174719 w 276874"/>
              <a:gd name="connsiteY3" fmla="*/ 116668 h 276903"/>
              <a:gd name="connsiteX4" fmla="*/ 138437 w 276874"/>
              <a:gd name="connsiteY4" fmla="*/ 80386 h 276903"/>
              <a:gd name="connsiteX5" fmla="*/ 138437 w 276874"/>
              <a:gd name="connsiteY5" fmla="*/ 51360 h 276903"/>
              <a:gd name="connsiteX6" fmla="*/ 203745 w 276874"/>
              <a:gd name="connsiteY6" fmla="*/ 117140 h 276903"/>
              <a:gd name="connsiteX7" fmla="*/ 142058 w 276874"/>
              <a:gd name="connsiteY7" fmla="*/ 224144 h 276903"/>
              <a:gd name="connsiteX8" fmla="*/ 138437 w 276874"/>
              <a:gd name="connsiteY8" fmla="*/ 225515 h 276903"/>
              <a:gd name="connsiteX9" fmla="*/ 134816 w 276874"/>
              <a:gd name="connsiteY9" fmla="*/ 224136 h 276903"/>
              <a:gd name="connsiteX10" fmla="*/ 73129 w 276874"/>
              <a:gd name="connsiteY10" fmla="*/ 117140 h 276903"/>
              <a:gd name="connsiteX11" fmla="*/ 138437 w 276874"/>
              <a:gd name="connsiteY11" fmla="*/ 51360 h 276903"/>
              <a:gd name="connsiteX12" fmla="*/ 138437 w 276874"/>
              <a:gd name="connsiteY12" fmla="*/ 28575 h 276903"/>
              <a:gd name="connsiteX13" fmla="*/ 28575 w 276874"/>
              <a:gd name="connsiteY13" fmla="*/ 138437 h 276903"/>
              <a:gd name="connsiteX14" fmla="*/ 138437 w 276874"/>
              <a:gd name="connsiteY14" fmla="*/ 248299 h 276903"/>
              <a:gd name="connsiteX15" fmla="*/ 248299 w 276874"/>
              <a:gd name="connsiteY15" fmla="*/ 138437 h 276903"/>
              <a:gd name="connsiteX16" fmla="*/ 138437 w 276874"/>
              <a:gd name="connsiteY16" fmla="*/ 28575 h 276903"/>
              <a:gd name="connsiteX17" fmla="*/ 37447 w 276874"/>
              <a:gd name="connsiteY17" fmla="*/ 0 h 276903"/>
              <a:gd name="connsiteX18" fmla="*/ 239427 w 276874"/>
              <a:gd name="connsiteY18" fmla="*/ 0 h 276903"/>
              <a:gd name="connsiteX19" fmla="*/ 276874 w 276874"/>
              <a:gd name="connsiteY19" fmla="*/ 37447 h 276903"/>
              <a:gd name="connsiteX20" fmla="*/ 276874 w 276874"/>
              <a:gd name="connsiteY20" fmla="*/ 239427 h 276903"/>
              <a:gd name="connsiteX21" fmla="*/ 37447 w 276874"/>
              <a:gd name="connsiteY21" fmla="*/ 276874 h 276903"/>
              <a:gd name="connsiteX22" fmla="*/ 0 w 276874"/>
              <a:gd name="connsiteY22" fmla="*/ 239427 h 276903"/>
              <a:gd name="connsiteX23" fmla="*/ 0 w 276874"/>
              <a:gd name="connsiteY23" fmla="*/ 37447 h 276903"/>
              <a:gd name="connsiteX24" fmla="*/ 37447 w 276874"/>
              <a:gd name="connsiteY24" fmla="*/ 0 h 276903"/>
              <a:gd name="connsiteX0" fmla="*/ 138437 w 276874"/>
              <a:gd name="connsiteY0" fmla="*/ 80386 h 276874"/>
              <a:gd name="connsiteX1" fmla="*/ 102155 w 276874"/>
              <a:gd name="connsiteY1" fmla="*/ 116668 h 276874"/>
              <a:gd name="connsiteX2" fmla="*/ 138437 w 276874"/>
              <a:gd name="connsiteY2" fmla="*/ 152951 h 276874"/>
              <a:gd name="connsiteX3" fmla="*/ 174719 w 276874"/>
              <a:gd name="connsiteY3" fmla="*/ 116668 h 276874"/>
              <a:gd name="connsiteX4" fmla="*/ 138437 w 276874"/>
              <a:gd name="connsiteY4" fmla="*/ 80386 h 276874"/>
              <a:gd name="connsiteX5" fmla="*/ 138437 w 276874"/>
              <a:gd name="connsiteY5" fmla="*/ 51360 h 276874"/>
              <a:gd name="connsiteX6" fmla="*/ 203745 w 276874"/>
              <a:gd name="connsiteY6" fmla="*/ 117140 h 276874"/>
              <a:gd name="connsiteX7" fmla="*/ 142058 w 276874"/>
              <a:gd name="connsiteY7" fmla="*/ 224144 h 276874"/>
              <a:gd name="connsiteX8" fmla="*/ 138437 w 276874"/>
              <a:gd name="connsiteY8" fmla="*/ 225515 h 276874"/>
              <a:gd name="connsiteX9" fmla="*/ 134816 w 276874"/>
              <a:gd name="connsiteY9" fmla="*/ 224136 h 276874"/>
              <a:gd name="connsiteX10" fmla="*/ 73129 w 276874"/>
              <a:gd name="connsiteY10" fmla="*/ 117140 h 276874"/>
              <a:gd name="connsiteX11" fmla="*/ 138437 w 276874"/>
              <a:gd name="connsiteY11" fmla="*/ 51360 h 276874"/>
              <a:gd name="connsiteX12" fmla="*/ 138437 w 276874"/>
              <a:gd name="connsiteY12" fmla="*/ 28575 h 276874"/>
              <a:gd name="connsiteX13" fmla="*/ 28575 w 276874"/>
              <a:gd name="connsiteY13" fmla="*/ 138437 h 276874"/>
              <a:gd name="connsiteX14" fmla="*/ 138437 w 276874"/>
              <a:gd name="connsiteY14" fmla="*/ 248299 h 276874"/>
              <a:gd name="connsiteX15" fmla="*/ 248299 w 276874"/>
              <a:gd name="connsiteY15" fmla="*/ 138437 h 276874"/>
              <a:gd name="connsiteX16" fmla="*/ 138437 w 276874"/>
              <a:gd name="connsiteY16" fmla="*/ 28575 h 276874"/>
              <a:gd name="connsiteX17" fmla="*/ 37447 w 276874"/>
              <a:gd name="connsiteY17" fmla="*/ 0 h 276874"/>
              <a:gd name="connsiteX18" fmla="*/ 239427 w 276874"/>
              <a:gd name="connsiteY18" fmla="*/ 0 h 276874"/>
              <a:gd name="connsiteX19" fmla="*/ 276874 w 276874"/>
              <a:gd name="connsiteY19" fmla="*/ 37447 h 276874"/>
              <a:gd name="connsiteX20" fmla="*/ 37447 w 276874"/>
              <a:gd name="connsiteY20" fmla="*/ 276874 h 276874"/>
              <a:gd name="connsiteX21" fmla="*/ 0 w 276874"/>
              <a:gd name="connsiteY21" fmla="*/ 239427 h 276874"/>
              <a:gd name="connsiteX22" fmla="*/ 0 w 276874"/>
              <a:gd name="connsiteY22" fmla="*/ 37447 h 276874"/>
              <a:gd name="connsiteX23" fmla="*/ 37447 w 276874"/>
              <a:gd name="connsiteY23" fmla="*/ 0 h 276874"/>
              <a:gd name="connsiteX0" fmla="*/ 138437 w 248299"/>
              <a:gd name="connsiteY0" fmla="*/ 80386 h 276874"/>
              <a:gd name="connsiteX1" fmla="*/ 102155 w 248299"/>
              <a:gd name="connsiteY1" fmla="*/ 116668 h 276874"/>
              <a:gd name="connsiteX2" fmla="*/ 138437 w 248299"/>
              <a:gd name="connsiteY2" fmla="*/ 152951 h 276874"/>
              <a:gd name="connsiteX3" fmla="*/ 174719 w 248299"/>
              <a:gd name="connsiteY3" fmla="*/ 116668 h 276874"/>
              <a:gd name="connsiteX4" fmla="*/ 138437 w 248299"/>
              <a:gd name="connsiteY4" fmla="*/ 80386 h 276874"/>
              <a:gd name="connsiteX5" fmla="*/ 138437 w 248299"/>
              <a:gd name="connsiteY5" fmla="*/ 51360 h 276874"/>
              <a:gd name="connsiteX6" fmla="*/ 203745 w 248299"/>
              <a:gd name="connsiteY6" fmla="*/ 117140 h 276874"/>
              <a:gd name="connsiteX7" fmla="*/ 142058 w 248299"/>
              <a:gd name="connsiteY7" fmla="*/ 224144 h 276874"/>
              <a:gd name="connsiteX8" fmla="*/ 138437 w 248299"/>
              <a:gd name="connsiteY8" fmla="*/ 225515 h 276874"/>
              <a:gd name="connsiteX9" fmla="*/ 134816 w 248299"/>
              <a:gd name="connsiteY9" fmla="*/ 224136 h 276874"/>
              <a:gd name="connsiteX10" fmla="*/ 73129 w 248299"/>
              <a:gd name="connsiteY10" fmla="*/ 117140 h 276874"/>
              <a:gd name="connsiteX11" fmla="*/ 138437 w 248299"/>
              <a:gd name="connsiteY11" fmla="*/ 51360 h 276874"/>
              <a:gd name="connsiteX12" fmla="*/ 138437 w 248299"/>
              <a:gd name="connsiteY12" fmla="*/ 28575 h 276874"/>
              <a:gd name="connsiteX13" fmla="*/ 28575 w 248299"/>
              <a:gd name="connsiteY13" fmla="*/ 138437 h 276874"/>
              <a:gd name="connsiteX14" fmla="*/ 138437 w 248299"/>
              <a:gd name="connsiteY14" fmla="*/ 248299 h 276874"/>
              <a:gd name="connsiteX15" fmla="*/ 248299 w 248299"/>
              <a:gd name="connsiteY15" fmla="*/ 138437 h 276874"/>
              <a:gd name="connsiteX16" fmla="*/ 138437 w 248299"/>
              <a:gd name="connsiteY16" fmla="*/ 28575 h 276874"/>
              <a:gd name="connsiteX17" fmla="*/ 37447 w 248299"/>
              <a:gd name="connsiteY17" fmla="*/ 0 h 276874"/>
              <a:gd name="connsiteX18" fmla="*/ 239427 w 248299"/>
              <a:gd name="connsiteY18" fmla="*/ 0 h 276874"/>
              <a:gd name="connsiteX19" fmla="*/ 37447 w 248299"/>
              <a:gd name="connsiteY19" fmla="*/ 276874 h 276874"/>
              <a:gd name="connsiteX20" fmla="*/ 0 w 248299"/>
              <a:gd name="connsiteY20" fmla="*/ 239427 h 276874"/>
              <a:gd name="connsiteX21" fmla="*/ 0 w 248299"/>
              <a:gd name="connsiteY21" fmla="*/ 37447 h 276874"/>
              <a:gd name="connsiteX22" fmla="*/ 37447 w 248299"/>
              <a:gd name="connsiteY22" fmla="*/ 0 h 276874"/>
              <a:gd name="connsiteX0" fmla="*/ 138437 w 248299"/>
              <a:gd name="connsiteY0" fmla="*/ 80386 h 276874"/>
              <a:gd name="connsiteX1" fmla="*/ 102155 w 248299"/>
              <a:gd name="connsiteY1" fmla="*/ 116668 h 276874"/>
              <a:gd name="connsiteX2" fmla="*/ 138437 w 248299"/>
              <a:gd name="connsiteY2" fmla="*/ 152951 h 276874"/>
              <a:gd name="connsiteX3" fmla="*/ 174719 w 248299"/>
              <a:gd name="connsiteY3" fmla="*/ 116668 h 276874"/>
              <a:gd name="connsiteX4" fmla="*/ 138437 w 248299"/>
              <a:gd name="connsiteY4" fmla="*/ 80386 h 276874"/>
              <a:gd name="connsiteX5" fmla="*/ 138437 w 248299"/>
              <a:gd name="connsiteY5" fmla="*/ 51360 h 276874"/>
              <a:gd name="connsiteX6" fmla="*/ 203745 w 248299"/>
              <a:gd name="connsiteY6" fmla="*/ 117140 h 276874"/>
              <a:gd name="connsiteX7" fmla="*/ 142058 w 248299"/>
              <a:gd name="connsiteY7" fmla="*/ 224144 h 276874"/>
              <a:gd name="connsiteX8" fmla="*/ 138437 w 248299"/>
              <a:gd name="connsiteY8" fmla="*/ 225515 h 276874"/>
              <a:gd name="connsiteX9" fmla="*/ 134816 w 248299"/>
              <a:gd name="connsiteY9" fmla="*/ 224136 h 276874"/>
              <a:gd name="connsiteX10" fmla="*/ 73129 w 248299"/>
              <a:gd name="connsiteY10" fmla="*/ 117140 h 276874"/>
              <a:gd name="connsiteX11" fmla="*/ 138437 w 248299"/>
              <a:gd name="connsiteY11" fmla="*/ 51360 h 276874"/>
              <a:gd name="connsiteX12" fmla="*/ 138437 w 248299"/>
              <a:gd name="connsiteY12" fmla="*/ 28575 h 276874"/>
              <a:gd name="connsiteX13" fmla="*/ 28575 w 248299"/>
              <a:gd name="connsiteY13" fmla="*/ 138437 h 276874"/>
              <a:gd name="connsiteX14" fmla="*/ 138437 w 248299"/>
              <a:gd name="connsiteY14" fmla="*/ 248299 h 276874"/>
              <a:gd name="connsiteX15" fmla="*/ 248299 w 248299"/>
              <a:gd name="connsiteY15" fmla="*/ 138437 h 276874"/>
              <a:gd name="connsiteX16" fmla="*/ 138437 w 248299"/>
              <a:gd name="connsiteY16" fmla="*/ 28575 h 276874"/>
              <a:gd name="connsiteX17" fmla="*/ 37447 w 248299"/>
              <a:gd name="connsiteY17" fmla="*/ 0 h 276874"/>
              <a:gd name="connsiteX18" fmla="*/ 37447 w 248299"/>
              <a:gd name="connsiteY18" fmla="*/ 276874 h 276874"/>
              <a:gd name="connsiteX19" fmla="*/ 0 w 248299"/>
              <a:gd name="connsiteY19" fmla="*/ 239427 h 276874"/>
              <a:gd name="connsiteX20" fmla="*/ 0 w 248299"/>
              <a:gd name="connsiteY20" fmla="*/ 37447 h 276874"/>
              <a:gd name="connsiteX21" fmla="*/ 37447 w 248299"/>
              <a:gd name="connsiteY21" fmla="*/ 0 h 276874"/>
              <a:gd name="connsiteX0" fmla="*/ 138437 w 248299"/>
              <a:gd name="connsiteY0" fmla="*/ 51811 h 248299"/>
              <a:gd name="connsiteX1" fmla="*/ 102155 w 248299"/>
              <a:gd name="connsiteY1" fmla="*/ 88093 h 248299"/>
              <a:gd name="connsiteX2" fmla="*/ 138437 w 248299"/>
              <a:gd name="connsiteY2" fmla="*/ 124376 h 248299"/>
              <a:gd name="connsiteX3" fmla="*/ 174719 w 248299"/>
              <a:gd name="connsiteY3" fmla="*/ 88093 h 248299"/>
              <a:gd name="connsiteX4" fmla="*/ 138437 w 248299"/>
              <a:gd name="connsiteY4" fmla="*/ 51811 h 248299"/>
              <a:gd name="connsiteX5" fmla="*/ 138437 w 248299"/>
              <a:gd name="connsiteY5" fmla="*/ 22785 h 248299"/>
              <a:gd name="connsiteX6" fmla="*/ 203745 w 248299"/>
              <a:gd name="connsiteY6" fmla="*/ 88565 h 248299"/>
              <a:gd name="connsiteX7" fmla="*/ 142058 w 248299"/>
              <a:gd name="connsiteY7" fmla="*/ 195569 h 248299"/>
              <a:gd name="connsiteX8" fmla="*/ 138437 w 248299"/>
              <a:gd name="connsiteY8" fmla="*/ 196940 h 248299"/>
              <a:gd name="connsiteX9" fmla="*/ 134816 w 248299"/>
              <a:gd name="connsiteY9" fmla="*/ 195561 h 248299"/>
              <a:gd name="connsiteX10" fmla="*/ 73129 w 248299"/>
              <a:gd name="connsiteY10" fmla="*/ 88565 h 248299"/>
              <a:gd name="connsiteX11" fmla="*/ 138437 w 248299"/>
              <a:gd name="connsiteY11" fmla="*/ 22785 h 248299"/>
              <a:gd name="connsiteX12" fmla="*/ 138437 w 248299"/>
              <a:gd name="connsiteY12" fmla="*/ 0 h 248299"/>
              <a:gd name="connsiteX13" fmla="*/ 28575 w 248299"/>
              <a:gd name="connsiteY13" fmla="*/ 109862 h 248299"/>
              <a:gd name="connsiteX14" fmla="*/ 138437 w 248299"/>
              <a:gd name="connsiteY14" fmla="*/ 219724 h 248299"/>
              <a:gd name="connsiteX15" fmla="*/ 248299 w 248299"/>
              <a:gd name="connsiteY15" fmla="*/ 109862 h 248299"/>
              <a:gd name="connsiteX16" fmla="*/ 138437 w 248299"/>
              <a:gd name="connsiteY16" fmla="*/ 0 h 248299"/>
              <a:gd name="connsiteX17" fmla="*/ 0 w 248299"/>
              <a:gd name="connsiteY17" fmla="*/ 8872 h 248299"/>
              <a:gd name="connsiteX18" fmla="*/ 37447 w 248299"/>
              <a:gd name="connsiteY18" fmla="*/ 248299 h 248299"/>
              <a:gd name="connsiteX19" fmla="*/ 0 w 248299"/>
              <a:gd name="connsiteY19" fmla="*/ 210852 h 248299"/>
              <a:gd name="connsiteX20" fmla="*/ 0 w 248299"/>
              <a:gd name="connsiteY20" fmla="*/ 8872 h 248299"/>
              <a:gd name="connsiteX0" fmla="*/ 138437 w 248299"/>
              <a:gd name="connsiteY0" fmla="*/ 51811 h 248299"/>
              <a:gd name="connsiteX1" fmla="*/ 102155 w 248299"/>
              <a:gd name="connsiteY1" fmla="*/ 88093 h 248299"/>
              <a:gd name="connsiteX2" fmla="*/ 138437 w 248299"/>
              <a:gd name="connsiteY2" fmla="*/ 124376 h 248299"/>
              <a:gd name="connsiteX3" fmla="*/ 174719 w 248299"/>
              <a:gd name="connsiteY3" fmla="*/ 88093 h 248299"/>
              <a:gd name="connsiteX4" fmla="*/ 138437 w 248299"/>
              <a:gd name="connsiteY4" fmla="*/ 51811 h 248299"/>
              <a:gd name="connsiteX5" fmla="*/ 138437 w 248299"/>
              <a:gd name="connsiteY5" fmla="*/ 22785 h 248299"/>
              <a:gd name="connsiteX6" fmla="*/ 203745 w 248299"/>
              <a:gd name="connsiteY6" fmla="*/ 88565 h 248299"/>
              <a:gd name="connsiteX7" fmla="*/ 142058 w 248299"/>
              <a:gd name="connsiteY7" fmla="*/ 195569 h 248299"/>
              <a:gd name="connsiteX8" fmla="*/ 138437 w 248299"/>
              <a:gd name="connsiteY8" fmla="*/ 196940 h 248299"/>
              <a:gd name="connsiteX9" fmla="*/ 134816 w 248299"/>
              <a:gd name="connsiteY9" fmla="*/ 195561 h 248299"/>
              <a:gd name="connsiteX10" fmla="*/ 73129 w 248299"/>
              <a:gd name="connsiteY10" fmla="*/ 88565 h 248299"/>
              <a:gd name="connsiteX11" fmla="*/ 138437 w 248299"/>
              <a:gd name="connsiteY11" fmla="*/ 22785 h 248299"/>
              <a:gd name="connsiteX12" fmla="*/ 138437 w 248299"/>
              <a:gd name="connsiteY12" fmla="*/ 0 h 248299"/>
              <a:gd name="connsiteX13" fmla="*/ 28575 w 248299"/>
              <a:gd name="connsiteY13" fmla="*/ 109862 h 248299"/>
              <a:gd name="connsiteX14" fmla="*/ 138437 w 248299"/>
              <a:gd name="connsiteY14" fmla="*/ 219724 h 248299"/>
              <a:gd name="connsiteX15" fmla="*/ 248299 w 248299"/>
              <a:gd name="connsiteY15" fmla="*/ 109862 h 248299"/>
              <a:gd name="connsiteX16" fmla="*/ 138437 w 248299"/>
              <a:gd name="connsiteY16" fmla="*/ 0 h 248299"/>
              <a:gd name="connsiteX17" fmla="*/ 0 w 248299"/>
              <a:gd name="connsiteY17" fmla="*/ 210852 h 248299"/>
              <a:gd name="connsiteX18" fmla="*/ 37447 w 248299"/>
              <a:gd name="connsiteY18" fmla="*/ 248299 h 248299"/>
              <a:gd name="connsiteX19" fmla="*/ 0 w 248299"/>
              <a:gd name="connsiteY19" fmla="*/ 210852 h 248299"/>
              <a:gd name="connsiteX0" fmla="*/ 109862 w 219724"/>
              <a:gd name="connsiteY0" fmla="*/ 51811 h 219724"/>
              <a:gd name="connsiteX1" fmla="*/ 73580 w 219724"/>
              <a:gd name="connsiteY1" fmla="*/ 88093 h 219724"/>
              <a:gd name="connsiteX2" fmla="*/ 109862 w 219724"/>
              <a:gd name="connsiteY2" fmla="*/ 124376 h 219724"/>
              <a:gd name="connsiteX3" fmla="*/ 146144 w 219724"/>
              <a:gd name="connsiteY3" fmla="*/ 88093 h 219724"/>
              <a:gd name="connsiteX4" fmla="*/ 109862 w 219724"/>
              <a:gd name="connsiteY4" fmla="*/ 51811 h 219724"/>
              <a:gd name="connsiteX5" fmla="*/ 109862 w 219724"/>
              <a:gd name="connsiteY5" fmla="*/ 22785 h 219724"/>
              <a:gd name="connsiteX6" fmla="*/ 175170 w 219724"/>
              <a:gd name="connsiteY6" fmla="*/ 88565 h 219724"/>
              <a:gd name="connsiteX7" fmla="*/ 113483 w 219724"/>
              <a:gd name="connsiteY7" fmla="*/ 195569 h 219724"/>
              <a:gd name="connsiteX8" fmla="*/ 109862 w 219724"/>
              <a:gd name="connsiteY8" fmla="*/ 196940 h 219724"/>
              <a:gd name="connsiteX9" fmla="*/ 106241 w 219724"/>
              <a:gd name="connsiteY9" fmla="*/ 195561 h 219724"/>
              <a:gd name="connsiteX10" fmla="*/ 44554 w 219724"/>
              <a:gd name="connsiteY10" fmla="*/ 88565 h 219724"/>
              <a:gd name="connsiteX11" fmla="*/ 109862 w 219724"/>
              <a:gd name="connsiteY11" fmla="*/ 22785 h 219724"/>
              <a:gd name="connsiteX12" fmla="*/ 109862 w 219724"/>
              <a:gd name="connsiteY12" fmla="*/ 0 h 219724"/>
              <a:gd name="connsiteX13" fmla="*/ 0 w 219724"/>
              <a:gd name="connsiteY13" fmla="*/ 109862 h 219724"/>
              <a:gd name="connsiteX14" fmla="*/ 109862 w 219724"/>
              <a:gd name="connsiteY14" fmla="*/ 219724 h 219724"/>
              <a:gd name="connsiteX15" fmla="*/ 219724 w 219724"/>
              <a:gd name="connsiteY15" fmla="*/ 109862 h 219724"/>
              <a:gd name="connsiteX16" fmla="*/ 109862 w 219724"/>
              <a:gd name="connsiteY16" fmla="*/ 0 h 219724"/>
              <a:gd name="connsiteX0" fmla="*/ 65308 w 175170"/>
              <a:gd name="connsiteY0" fmla="*/ 54864 h 225830"/>
              <a:gd name="connsiteX1" fmla="*/ 29026 w 175170"/>
              <a:gd name="connsiteY1" fmla="*/ 91146 h 225830"/>
              <a:gd name="connsiteX2" fmla="*/ 65308 w 175170"/>
              <a:gd name="connsiteY2" fmla="*/ 127429 h 225830"/>
              <a:gd name="connsiteX3" fmla="*/ 101590 w 175170"/>
              <a:gd name="connsiteY3" fmla="*/ 91146 h 225830"/>
              <a:gd name="connsiteX4" fmla="*/ 65308 w 175170"/>
              <a:gd name="connsiteY4" fmla="*/ 54864 h 225830"/>
              <a:gd name="connsiteX5" fmla="*/ 65308 w 175170"/>
              <a:gd name="connsiteY5" fmla="*/ 25838 h 225830"/>
              <a:gd name="connsiteX6" fmla="*/ 130616 w 175170"/>
              <a:gd name="connsiteY6" fmla="*/ 91618 h 225830"/>
              <a:gd name="connsiteX7" fmla="*/ 68929 w 175170"/>
              <a:gd name="connsiteY7" fmla="*/ 198622 h 225830"/>
              <a:gd name="connsiteX8" fmla="*/ 65308 w 175170"/>
              <a:gd name="connsiteY8" fmla="*/ 199993 h 225830"/>
              <a:gd name="connsiteX9" fmla="*/ 61687 w 175170"/>
              <a:gd name="connsiteY9" fmla="*/ 198614 h 225830"/>
              <a:gd name="connsiteX10" fmla="*/ 0 w 175170"/>
              <a:gd name="connsiteY10" fmla="*/ 91618 h 225830"/>
              <a:gd name="connsiteX11" fmla="*/ 65308 w 175170"/>
              <a:gd name="connsiteY11" fmla="*/ 25838 h 225830"/>
              <a:gd name="connsiteX12" fmla="*/ 65308 w 175170"/>
              <a:gd name="connsiteY12" fmla="*/ 3053 h 225830"/>
              <a:gd name="connsiteX13" fmla="*/ 65308 w 175170"/>
              <a:gd name="connsiteY13" fmla="*/ 222777 h 225830"/>
              <a:gd name="connsiteX14" fmla="*/ 175170 w 175170"/>
              <a:gd name="connsiteY14" fmla="*/ 112915 h 225830"/>
              <a:gd name="connsiteX15" fmla="*/ 65308 w 175170"/>
              <a:gd name="connsiteY15" fmla="*/ 3053 h 225830"/>
              <a:gd name="connsiteX0" fmla="*/ 65308 w 175170"/>
              <a:gd name="connsiteY0" fmla="*/ 51811 h 196940"/>
              <a:gd name="connsiteX1" fmla="*/ 29026 w 175170"/>
              <a:gd name="connsiteY1" fmla="*/ 88093 h 196940"/>
              <a:gd name="connsiteX2" fmla="*/ 65308 w 175170"/>
              <a:gd name="connsiteY2" fmla="*/ 124376 h 196940"/>
              <a:gd name="connsiteX3" fmla="*/ 101590 w 175170"/>
              <a:gd name="connsiteY3" fmla="*/ 88093 h 196940"/>
              <a:gd name="connsiteX4" fmla="*/ 65308 w 175170"/>
              <a:gd name="connsiteY4" fmla="*/ 51811 h 196940"/>
              <a:gd name="connsiteX5" fmla="*/ 65308 w 175170"/>
              <a:gd name="connsiteY5" fmla="*/ 22785 h 196940"/>
              <a:gd name="connsiteX6" fmla="*/ 130616 w 175170"/>
              <a:gd name="connsiteY6" fmla="*/ 88565 h 196940"/>
              <a:gd name="connsiteX7" fmla="*/ 68929 w 175170"/>
              <a:gd name="connsiteY7" fmla="*/ 195569 h 196940"/>
              <a:gd name="connsiteX8" fmla="*/ 65308 w 175170"/>
              <a:gd name="connsiteY8" fmla="*/ 196940 h 196940"/>
              <a:gd name="connsiteX9" fmla="*/ 61687 w 175170"/>
              <a:gd name="connsiteY9" fmla="*/ 195561 h 196940"/>
              <a:gd name="connsiteX10" fmla="*/ 0 w 175170"/>
              <a:gd name="connsiteY10" fmla="*/ 88565 h 196940"/>
              <a:gd name="connsiteX11" fmla="*/ 65308 w 175170"/>
              <a:gd name="connsiteY11" fmla="*/ 22785 h 196940"/>
              <a:gd name="connsiteX12" fmla="*/ 65308 w 175170"/>
              <a:gd name="connsiteY12" fmla="*/ 0 h 196940"/>
              <a:gd name="connsiteX13" fmla="*/ 175170 w 175170"/>
              <a:gd name="connsiteY13" fmla="*/ 109862 h 196940"/>
              <a:gd name="connsiteX14" fmla="*/ 65308 w 175170"/>
              <a:gd name="connsiteY14" fmla="*/ 0 h 196940"/>
              <a:gd name="connsiteX0" fmla="*/ 65308 w 130616"/>
              <a:gd name="connsiteY0" fmla="*/ 29026 h 174155"/>
              <a:gd name="connsiteX1" fmla="*/ 29026 w 130616"/>
              <a:gd name="connsiteY1" fmla="*/ 65308 h 174155"/>
              <a:gd name="connsiteX2" fmla="*/ 65308 w 130616"/>
              <a:gd name="connsiteY2" fmla="*/ 101591 h 174155"/>
              <a:gd name="connsiteX3" fmla="*/ 101590 w 130616"/>
              <a:gd name="connsiteY3" fmla="*/ 65308 h 174155"/>
              <a:gd name="connsiteX4" fmla="*/ 65308 w 130616"/>
              <a:gd name="connsiteY4" fmla="*/ 29026 h 174155"/>
              <a:gd name="connsiteX5" fmla="*/ 65308 w 130616"/>
              <a:gd name="connsiteY5" fmla="*/ 0 h 174155"/>
              <a:gd name="connsiteX6" fmla="*/ 130616 w 130616"/>
              <a:gd name="connsiteY6" fmla="*/ 65780 h 174155"/>
              <a:gd name="connsiteX7" fmla="*/ 68929 w 130616"/>
              <a:gd name="connsiteY7" fmla="*/ 172784 h 174155"/>
              <a:gd name="connsiteX8" fmla="*/ 65308 w 130616"/>
              <a:gd name="connsiteY8" fmla="*/ 174155 h 174155"/>
              <a:gd name="connsiteX9" fmla="*/ 61687 w 130616"/>
              <a:gd name="connsiteY9" fmla="*/ 172776 h 174155"/>
              <a:gd name="connsiteX10" fmla="*/ 0 w 130616"/>
              <a:gd name="connsiteY10" fmla="*/ 65780 h 174155"/>
              <a:gd name="connsiteX11" fmla="*/ 65308 w 130616"/>
              <a:gd name="connsiteY11" fmla="*/ 0 h 174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0616" h="174155">
                <a:moveTo>
                  <a:pt x="65308" y="29026"/>
                </a:moveTo>
                <a:cubicBezTo>
                  <a:pt x="45302" y="29026"/>
                  <a:pt x="29026" y="45302"/>
                  <a:pt x="29026" y="65308"/>
                </a:cubicBezTo>
                <a:cubicBezTo>
                  <a:pt x="29026" y="85314"/>
                  <a:pt x="45302" y="101591"/>
                  <a:pt x="65308" y="101591"/>
                </a:cubicBezTo>
                <a:cubicBezTo>
                  <a:pt x="85314" y="101591"/>
                  <a:pt x="101590" y="85314"/>
                  <a:pt x="101590" y="65308"/>
                </a:cubicBezTo>
                <a:cubicBezTo>
                  <a:pt x="101590" y="45302"/>
                  <a:pt x="85314" y="29026"/>
                  <a:pt x="65308" y="29026"/>
                </a:cubicBezTo>
                <a:close/>
                <a:moveTo>
                  <a:pt x="65308" y="0"/>
                </a:moveTo>
                <a:cubicBezTo>
                  <a:pt x="101315" y="0"/>
                  <a:pt x="130616" y="29505"/>
                  <a:pt x="130616" y="65780"/>
                </a:cubicBezTo>
                <a:cubicBezTo>
                  <a:pt x="130616" y="117323"/>
                  <a:pt x="71447" y="170541"/>
                  <a:pt x="68929" y="172784"/>
                </a:cubicBezTo>
                <a:cubicBezTo>
                  <a:pt x="67891" y="173698"/>
                  <a:pt x="66600" y="174155"/>
                  <a:pt x="65308" y="174155"/>
                </a:cubicBezTo>
                <a:cubicBezTo>
                  <a:pt x="64016" y="174155"/>
                  <a:pt x="62725" y="173698"/>
                  <a:pt x="61687" y="172776"/>
                </a:cubicBezTo>
                <a:cubicBezTo>
                  <a:pt x="59169" y="170541"/>
                  <a:pt x="0" y="117323"/>
                  <a:pt x="0" y="65780"/>
                </a:cubicBezTo>
                <a:cubicBezTo>
                  <a:pt x="0" y="29505"/>
                  <a:pt x="29302" y="0"/>
                  <a:pt x="65308" y="0"/>
                </a:cubicBezTo>
                <a:close/>
              </a:path>
            </a:pathLst>
          </a:custGeom>
          <a:solidFill>
            <a:schemeClr val="accent3"/>
          </a:solidFill>
        </p:spPr>
        <p:txBody>
          <a:bodyPr wrap="square">
            <a:noAutofit/>
          </a:bodyPr>
          <a:lstStyle>
            <a:lvl1pPr marL="0" indent="0" algn="l" defTabSz="914400" rtl="0" eaLnBrk="1" latinLnBrk="0" hangingPunct="1">
              <a:lnSpc>
                <a:spcPct val="90000"/>
              </a:lnSpc>
              <a:spcBef>
                <a:spcPts val="600"/>
              </a:spcBef>
              <a:spcAft>
                <a:spcPts val="600"/>
              </a:spcAft>
              <a:buClr>
                <a:schemeClr val="accent4"/>
              </a:buClr>
              <a:buSzPct val="100000"/>
              <a:buFontTx/>
              <a:buNone/>
              <a:defRPr sz="100" kern="1200">
                <a:solidFill>
                  <a:schemeClr val="tx2">
                    <a:lumMod val="75000"/>
                    <a:alpha val="0"/>
                  </a:schemeClr>
                </a:solidFill>
                <a:latin typeface="+mn-lt"/>
                <a:ea typeface="+mn-ea"/>
                <a:cs typeface="+mn-cs"/>
              </a:defRPr>
            </a:lvl1pPr>
            <a:lvl2pPr marL="0" indent="0" algn="l" defTabSz="914400" rtl="0" eaLnBrk="1" latinLnBrk="0" hangingPunct="1">
              <a:lnSpc>
                <a:spcPct val="90000"/>
              </a:lnSpc>
              <a:spcBef>
                <a:spcPts val="600"/>
              </a:spcBef>
              <a:spcAft>
                <a:spcPts val="600"/>
              </a:spcAft>
              <a:buClr>
                <a:schemeClr val="tx2"/>
              </a:buClr>
              <a:buFont typeface="Aptos" panose="020B0004020202020204" pitchFamily="34" charset="0"/>
              <a:buNone/>
              <a:tabLst/>
              <a:defRPr sz="1600" kern="1200">
                <a:solidFill>
                  <a:schemeClr val="tx1"/>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tx2"/>
              </a:buClr>
              <a:buFontTx/>
              <a:buNone/>
              <a:defRPr sz="2000" b="1" kern="1200">
                <a:solidFill>
                  <a:schemeClr val="accent3"/>
                </a:solidFill>
                <a:latin typeface="+mj-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2"/>
                </a:solidFill>
                <a:latin typeface="+mj-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4"/>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5"/>
                </a:solidFill>
                <a:latin typeface="+mj-lt"/>
                <a:ea typeface="+mn-ea"/>
                <a:cs typeface="+mn-cs"/>
              </a:defRPr>
            </a:lvl6pPr>
            <a:lvl7pPr marL="0" indent="0" algn="l" defTabSz="914400" rtl="0" eaLnBrk="1" latinLnBrk="0" hangingPunct="1">
              <a:lnSpc>
                <a:spcPct val="90000"/>
              </a:lnSpc>
              <a:spcBef>
                <a:spcPts val="600"/>
              </a:spcBef>
              <a:spcAft>
                <a:spcPts val="600"/>
              </a:spcAft>
              <a:buClr>
                <a:schemeClr val="tx2"/>
              </a:buClr>
              <a:buFontTx/>
              <a:buNone/>
              <a:tabLst/>
              <a:defRPr sz="1400" b="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Clr>
                <a:schemeClr val="tx2"/>
              </a:buClr>
              <a:buFontTx/>
              <a:buNone/>
              <a:defRPr sz="1800" b="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tx2"/>
              </a:buClr>
              <a:buFontTx/>
              <a:buNone/>
              <a:tabLst/>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E7303A"/>
              </a:buClr>
              <a:buSzPct val="100000"/>
              <a:buFontTx/>
              <a:buNone/>
              <a:tabLst/>
              <a:defRPr/>
            </a:pPr>
            <a:r>
              <a:rPr kumimoji="0" lang="en-GB" sz="100" b="0" i="0" u="none" strike="noStrike" kern="1200" cap="none" spc="0" normalizeH="0" baseline="0" noProof="0">
                <a:ln>
                  <a:noFill/>
                </a:ln>
                <a:solidFill>
                  <a:srgbClr val="070809">
                    <a:lumMod val="75000"/>
                    <a:alpha val="0"/>
                  </a:srgbClr>
                </a:solidFill>
                <a:effectLst/>
                <a:uLnTx/>
                <a:uFillTx/>
                <a:latin typeface="Aptos" panose="020B0004020202020204" pitchFamily="34" charset="0"/>
                <a:ea typeface="+mn-ea"/>
                <a:cs typeface="+mn-cs"/>
              </a:rPr>
              <a:t> </a:t>
            </a:r>
          </a:p>
        </p:txBody>
      </p:sp>
      <p:sp>
        <p:nvSpPr>
          <p:cNvPr id="10" name="Tijdelijke aanduiding voor tekst 38">
            <a:extLst>
              <a:ext uri="{FF2B5EF4-FFF2-40B4-BE49-F238E27FC236}">
                <a16:creationId xmlns:a16="http://schemas.microsoft.com/office/drawing/2014/main" id="{EA756F8E-63B7-F01F-1B2C-E954D894D33D}"/>
              </a:ext>
            </a:extLst>
          </p:cNvPr>
          <p:cNvSpPr txBox="1">
            <a:spLocks/>
          </p:cNvSpPr>
          <p:nvPr/>
        </p:nvSpPr>
        <p:spPr>
          <a:xfrm>
            <a:off x="8386851" y="4719218"/>
            <a:ext cx="173108" cy="127626"/>
          </a:xfrm>
          <a:custGeom>
            <a:avLst/>
            <a:gdLst>
              <a:gd name="connsiteX0" fmla="*/ 44331 w 219724"/>
              <a:gd name="connsiteY0" fmla="*/ 88780 h 219724"/>
              <a:gd name="connsiteX1" fmla="*/ 44331 w 219724"/>
              <a:gd name="connsiteY1" fmla="*/ 138851 h 219724"/>
              <a:gd name="connsiteX2" fmla="*/ 63657 w 219724"/>
              <a:gd name="connsiteY2" fmla="*/ 158176 h 219724"/>
              <a:gd name="connsiteX3" fmla="*/ 156068 w 219724"/>
              <a:gd name="connsiteY3" fmla="*/ 158176 h 219724"/>
              <a:gd name="connsiteX4" fmla="*/ 175394 w 219724"/>
              <a:gd name="connsiteY4" fmla="*/ 138851 h 219724"/>
              <a:gd name="connsiteX5" fmla="*/ 175394 w 219724"/>
              <a:gd name="connsiteY5" fmla="*/ 88780 h 219724"/>
              <a:gd name="connsiteX6" fmla="*/ 113728 w 219724"/>
              <a:gd name="connsiteY6" fmla="*/ 126377 h 219724"/>
              <a:gd name="connsiteX7" fmla="*/ 109863 w 219724"/>
              <a:gd name="connsiteY7" fmla="*/ 127431 h 219724"/>
              <a:gd name="connsiteX8" fmla="*/ 105997 w 219724"/>
              <a:gd name="connsiteY8" fmla="*/ 126377 h 219724"/>
              <a:gd name="connsiteX9" fmla="*/ 63657 w 219724"/>
              <a:gd name="connsiteY9" fmla="*/ 61548 h 219724"/>
              <a:gd name="connsiteX10" fmla="*/ 44858 w 219724"/>
              <a:gd name="connsiteY10" fmla="*/ 76657 h 219724"/>
              <a:gd name="connsiteX11" fmla="*/ 109863 w 219724"/>
              <a:gd name="connsiteY11" fmla="*/ 116363 h 219724"/>
              <a:gd name="connsiteX12" fmla="*/ 174867 w 219724"/>
              <a:gd name="connsiteY12" fmla="*/ 76657 h 219724"/>
              <a:gd name="connsiteX13" fmla="*/ 156068 w 219724"/>
              <a:gd name="connsiteY13" fmla="*/ 61548 h 219724"/>
              <a:gd name="connsiteX14" fmla="*/ 109862 w 219724"/>
              <a:gd name="connsiteY14" fmla="*/ 0 h 219724"/>
              <a:gd name="connsiteX15" fmla="*/ 219724 w 219724"/>
              <a:gd name="connsiteY15" fmla="*/ 109862 h 219724"/>
              <a:gd name="connsiteX16" fmla="*/ 109862 w 219724"/>
              <a:gd name="connsiteY16" fmla="*/ 219724 h 219724"/>
              <a:gd name="connsiteX17" fmla="*/ 0 w 219724"/>
              <a:gd name="connsiteY17" fmla="*/ 109862 h 219724"/>
              <a:gd name="connsiteX18" fmla="*/ 109862 w 219724"/>
              <a:gd name="connsiteY18" fmla="*/ 0 h 219724"/>
              <a:gd name="connsiteX0" fmla="*/ 47384 w 225830"/>
              <a:gd name="connsiteY0" fmla="*/ 88780 h 158176"/>
              <a:gd name="connsiteX1" fmla="*/ 47384 w 225830"/>
              <a:gd name="connsiteY1" fmla="*/ 138851 h 158176"/>
              <a:gd name="connsiteX2" fmla="*/ 66710 w 225830"/>
              <a:gd name="connsiteY2" fmla="*/ 158176 h 158176"/>
              <a:gd name="connsiteX3" fmla="*/ 159121 w 225830"/>
              <a:gd name="connsiteY3" fmla="*/ 158176 h 158176"/>
              <a:gd name="connsiteX4" fmla="*/ 178447 w 225830"/>
              <a:gd name="connsiteY4" fmla="*/ 138851 h 158176"/>
              <a:gd name="connsiteX5" fmla="*/ 178447 w 225830"/>
              <a:gd name="connsiteY5" fmla="*/ 88780 h 158176"/>
              <a:gd name="connsiteX6" fmla="*/ 116781 w 225830"/>
              <a:gd name="connsiteY6" fmla="*/ 126377 h 158176"/>
              <a:gd name="connsiteX7" fmla="*/ 112916 w 225830"/>
              <a:gd name="connsiteY7" fmla="*/ 127431 h 158176"/>
              <a:gd name="connsiteX8" fmla="*/ 109050 w 225830"/>
              <a:gd name="connsiteY8" fmla="*/ 126377 h 158176"/>
              <a:gd name="connsiteX9" fmla="*/ 47384 w 225830"/>
              <a:gd name="connsiteY9" fmla="*/ 88780 h 158176"/>
              <a:gd name="connsiteX10" fmla="*/ 66710 w 225830"/>
              <a:gd name="connsiteY10" fmla="*/ 61548 h 158176"/>
              <a:gd name="connsiteX11" fmla="*/ 47911 w 225830"/>
              <a:gd name="connsiteY11" fmla="*/ 76657 h 158176"/>
              <a:gd name="connsiteX12" fmla="*/ 112916 w 225830"/>
              <a:gd name="connsiteY12" fmla="*/ 116363 h 158176"/>
              <a:gd name="connsiteX13" fmla="*/ 177920 w 225830"/>
              <a:gd name="connsiteY13" fmla="*/ 76657 h 158176"/>
              <a:gd name="connsiteX14" fmla="*/ 159121 w 225830"/>
              <a:gd name="connsiteY14" fmla="*/ 61548 h 158176"/>
              <a:gd name="connsiteX15" fmla="*/ 66710 w 225830"/>
              <a:gd name="connsiteY15" fmla="*/ 61548 h 158176"/>
              <a:gd name="connsiteX16" fmla="*/ 112915 w 225830"/>
              <a:gd name="connsiteY16" fmla="*/ 0 h 158176"/>
              <a:gd name="connsiteX17" fmla="*/ 222777 w 225830"/>
              <a:gd name="connsiteY17" fmla="*/ 109862 h 158176"/>
              <a:gd name="connsiteX18" fmla="*/ 3053 w 225830"/>
              <a:gd name="connsiteY18" fmla="*/ 109862 h 158176"/>
              <a:gd name="connsiteX19" fmla="*/ 112915 w 225830"/>
              <a:gd name="connsiteY19" fmla="*/ 0 h 158176"/>
              <a:gd name="connsiteX0" fmla="*/ 44331 w 175394"/>
              <a:gd name="connsiteY0" fmla="*/ 88780 h 158176"/>
              <a:gd name="connsiteX1" fmla="*/ 44331 w 175394"/>
              <a:gd name="connsiteY1" fmla="*/ 138851 h 158176"/>
              <a:gd name="connsiteX2" fmla="*/ 63657 w 175394"/>
              <a:gd name="connsiteY2" fmla="*/ 158176 h 158176"/>
              <a:gd name="connsiteX3" fmla="*/ 156068 w 175394"/>
              <a:gd name="connsiteY3" fmla="*/ 158176 h 158176"/>
              <a:gd name="connsiteX4" fmla="*/ 175394 w 175394"/>
              <a:gd name="connsiteY4" fmla="*/ 138851 h 158176"/>
              <a:gd name="connsiteX5" fmla="*/ 175394 w 175394"/>
              <a:gd name="connsiteY5" fmla="*/ 88780 h 158176"/>
              <a:gd name="connsiteX6" fmla="*/ 113728 w 175394"/>
              <a:gd name="connsiteY6" fmla="*/ 126377 h 158176"/>
              <a:gd name="connsiteX7" fmla="*/ 109863 w 175394"/>
              <a:gd name="connsiteY7" fmla="*/ 127431 h 158176"/>
              <a:gd name="connsiteX8" fmla="*/ 105997 w 175394"/>
              <a:gd name="connsiteY8" fmla="*/ 126377 h 158176"/>
              <a:gd name="connsiteX9" fmla="*/ 44331 w 175394"/>
              <a:gd name="connsiteY9" fmla="*/ 88780 h 158176"/>
              <a:gd name="connsiteX10" fmla="*/ 63657 w 175394"/>
              <a:gd name="connsiteY10" fmla="*/ 61548 h 158176"/>
              <a:gd name="connsiteX11" fmla="*/ 44858 w 175394"/>
              <a:gd name="connsiteY11" fmla="*/ 76657 h 158176"/>
              <a:gd name="connsiteX12" fmla="*/ 109863 w 175394"/>
              <a:gd name="connsiteY12" fmla="*/ 116363 h 158176"/>
              <a:gd name="connsiteX13" fmla="*/ 174867 w 175394"/>
              <a:gd name="connsiteY13" fmla="*/ 76657 h 158176"/>
              <a:gd name="connsiteX14" fmla="*/ 156068 w 175394"/>
              <a:gd name="connsiteY14" fmla="*/ 61548 h 158176"/>
              <a:gd name="connsiteX15" fmla="*/ 63657 w 175394"/>
              <a:gd name="connsiteY15" fmla="*/ 61548 h 158176"/>
              <a:gd name="connsiteX16" fmla="*/ 109862 w 175394"/>
              <a:gd name="connsiteY16" fmla="*/ 0 h 158176"/>
              <a:gd name="connsiteX17" fmla="*/ 0 w 175394"/>
              <a:gd name="connsiteY17" fmla="*/ 109862 h 158176"/>
              <a:gd name="connsiteX18" fmla="*/ 109862 w 175394"/>
              <a:gd name="connsiteY18" fmla="*/ 0 h 158176"/>
              <a:gd name="connsiteX0" fmla="*/ 0 w 131063"/>
              <a:gd name="connsiteY0" fmla="*/ 27232 h 96628"/>
              <a:gd name="connsiteX1" fmla="*/ 0 w 131063"/>
              <a:gd name="connsiteY1" fmla="*/ 77303 h 96628"/>
              <a:gd name="connsiteX2" fmla="*/ 19326 w 131063"/>
              <a:gd name="connsiteY2" fmla="*/ 96628 h 96628"/>
              <a:gd name="connsiteX3" fmla="*/ 111737 w 131063"/>
              <a:gd name="connsiteY3" fmla="*/ 96628 h 96628"/>
              <a:gd name="connsiteX4" fmla="*/ 131063 w 131063"/>
              <a:gd name="connsiteY4" fmla="*/ 77303 h 96628"/>
              <a:gd name="connsiteX5" fmla="*/ 131063 w 131063"/>
              <a:gd name="connsiteY5" fmla="*/ 27232 h 96628"/>
              <a:gd name="connsiteX6" fmla="*/ 69397 w 131063"/>
              <a:gd name="connsiteY6" fmla="*/ 64829 h 96628"/>
              <a:gd name="connsiteX7" fmla="*/ 65532 w 131063"/>
              <a:gd name="connsiteY7" fmla="*/ 65883 h 96628"/>
              <a:gd name="connsiteX8" fmla="*/ 61666 w 131063"/>
              <a:gd name="connsiteY8" fmla="*/ 64829 h 96628"/>
              <a:gd name="connsiteX9" fmla="*/ 0 w 131063"/>
              <a:gd name="connsiteY9" fmla="*/ 27232 h 96628"/>
              <a:gd name="connsiteX10" fmla="*/ 19326 w 131063"/>
              <a:gd name="connsiteY10" fmla="*/ 0 h 96628"/>
              <a:gd name="connsiteX11" fmla="*/ 527 w 131063"/>
              <a:gd name="connsiteY11" fmla="*/ 15109 h 96628"/>
              <a:gd name="connsiteX12" fmla="*/ 65532 w 131063"/>
              <a:gd name="connsiteY12" fmla="*/ 54815 h 96628"/>
              <a:gd name="connsiteX13" fmla="*/ 130536 w 131063"/>
              <a:gd name="connsiteY13" fmla="*/ 15109 h 96628"/>
              <a:gd name="connsiteX14" fmla="*/ 111737 w 131063"/>
              <a:gd name="connsiteY14" fmla="*/ 0 h 96628"/>
              <a:gd name="connsiteX15" fmla="*/ 19326 w 131063"/>
              <a:gd name="connsiteY15" fmla="*/ 0 h 96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1063" h="96628">
                <a:moveTo>
                  <a:pt x="0" y="27232"/>
                </a:moveTo>
                <a:lnTo>
                  <a:pt x="0" y="77303"/>
                </a:lnTo>
                <a:cubicBezTo>
                  <a:pt x="0" y="88020"/>
                  <a:pt x="8609" y="96628"/>
                  <a:pt x="19326" y="96628"/>
                </a:cubicBezTo>
                <a:lnTo>
                  <a:pt x="111737" y="96628"/>
                </a:lnTo>
                <a:cubicBezTo>
                  <a:pt x="122454" y="96628"/>
                  <a:pt x="131063" y="88020"/>
                  <a:pt x="131063" y="77303"/>
                </a:cubicBezTo>
                <a:lnTo>
                  <a:pt x="131063" y="27232"/>
                </a:lnTo>
                <a:lnTo>
                  <a:pt x="69397" y="64829"/>
                </a:lnTo>
                <a:cubicBezTo>
                  <a:pt x="68167" y="65532"/>
                  <a:pt x="66761" y="65883"/>
                  <a:pt x="65532" y="65883"/>
                </a:cubicBezTo>
                <a:cubicBezTo>
                  <a:pt x="64302" y="65883"/>
                  <a:pt x="62896" y="65532"/>
                  <a:pt x="61666" y="64829"/>
                </a:cubicBezTo>
                <a:lnTo>
                  <a:pt x="0" y="27232"/>
                </a:lnTo>
                <a:close/>
                <a:moveTo>
                  <a:pt x="19326" y="0"/>
                </a:moveTo>
                <a:cubicBezTo>
                  <a:pt x="10190" y="0"/>
                  <a:pt x="2460" y="6501"/>
                  <a:pt x="527" y="15109"/>
                </a:cubicBezTo>
                <a:lnTo>
                  <a:pt x="65532" y="54815"/>
                </a:lnTo>
                <a:lnTo>
                  <a:pt x="130536" y="15109"/>
                </a:lnTo>
                <a:cubicBezTo>
                  <a:pt x="128603" y="6501"/>
                  <a:pt x="120873" y="0"/>
                  <a:pt x="111737" y="0"/>
                </a:cubicBezTo>
                <a:lnTo>
                  <a:pt x="19326" y="0"/>
                </a:lnTo>
                <a:close/>
              </a:path>
            </a:pathLst>
          </a:custGeom>
          <a:solidFill>
            <a:schemeClr val="accent3"/>
          </a:solidFill>
        </p:spPr>
        <p:txBody>
          <a:bodyPr wrap="square">
            <a:noAutofit/>
          </a:bodyPr>
          <a:lstStyle>
            <a:lvl1pPr marL="0" indent="0" algn="l" defTabSz="914400" rtl="0" eaLnBrk="1" latinLnBrk="0" hangingPunct="1">
              <a:lnSpc>
                <a:spcPct val="90000"/>
              </a:lnSpc>
              <a:spcBef>
                <a:spcPts val="600"/>
              </a:spcBef>
              <a:spcAft>
                <a:spcPts val="600"/>
              </a:spcAft>
              <a:buClr>
                <a:schemeClr val="accent4"/>
              </a:buClr>
              <a:buSzPct val="100000"/>
              <a:buFontTx/>
              <a:buNone/>
              <a:defRPr sz="100" kern="1200">
                <a:solidFill>
                  <a:schemeClr val="tx2">
                    <a:lumMod val="75000"/>
                    <a:alpha val="0"/>
                  </a:schemeClr>
                </a:solidFill>
                <a:latin typeface="+mn-lt"/>
                <a:ea typeface="+mn-ea"/>
                <a:cs typeface="+mn-cs"/>
              </a:defRPr>
            </a:lvl1pPr>
            <a:lvl2pPr marL="0" indent="0" algn="l" defTabSz="914400" rtl="0" eaLnBrk="1" latinLnBrk="0" hangingPunct="1">
              <a:lnSpc>
                <a:spcPct val="90000"/>
              </a:lnSpc>
              <a:spcBef>
                <a:spcPts val="600"/>
              </a:spcBef>
              <a:spcAft>
                <a:spcPts val="600"/>
              </a:spcAft>
              <a:buClr>
                <a:schemeClr val="tx2"/>
              </a:buClr>
              <a:buFont typeface="Aptos" panose="020B0004020202020204" pitchFamily="34" charset="0"/>
              <a:buNone/>
              <a:tabLst/>
              <a:defRPr sz="1600" kern="1200">
                <a:solidFill>
                  <a:schemeClr val="tx1"/>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tx2"/>
              </a:buClr>
              <a:buFontTx/>
              <a:buNone/>
              <a:defRPr sz="2000" b="1" kern="1200">
                <a:solidFill>
                  <a:schemeClr val="accent3"/>
                </a:solidFill>
                <a:latin typeface="+mj-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2"/>
                </a:solidFill>
                <a:latin typeface="+mj-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4"/>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5"/>
                </a:solidFill>
                <a:latin typeface="+mj-lt"/>
                <a:ea typeface="+mn-ea"/>
                <a:cs typeface="+mn-cs"/>
              </a:defRPr>
            </a:lvl6pPr>
            <a:lvl7pPr marL="0" indent="0" algn="l" defTabSz="914400" rtl="0" eaLnBrk="1" latinLnBrk="0" hangingPunct="1">
              <a:lnSpc>
                <a:spcPct val="90000"/>
              </a:lnSpc>
              <a:spcBef>
                <a:spcPts val="600"/>
              </a:spcBef>
              <a:spcAft>
                <a:spcPts val="600"/>
              </a:spcAft>
              <a:buClr>
                <a:schemeClr val="tx2"/>
              </a:buClr>
              <a:buFontTx/>
              <a:buNone/>
              <a:tabLst/>
              <a:defRPr sz="1400" b="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Clr>
                <a:schemeClr val="tx2"/>
              </a:buClr>
              <a:buFontTx/>
              <a:buNone/>
              <a:defRPr sz="1800" b="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tx2"/>
              </a:buClr>
              <a:buFontTx/>
              <a:buNone/>
              <a:tabLst/>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E7303A"/>
              </a:buClr>
              <a:buSzPct val="100000"/>
              <a:buFontTx/>
              <a:buNone/>
              <a:tabLst/>
              <a:defRPr/>
            </a:pPr>
            <a:r>
              <a:rPr kumimoji="0" lang="en-GB" sz="100" b="0" i="0" u="none" strike="noStrike" kern="1200" cap="none" spc="0" normalizeH="0" baseline="0" noProof="0">
                <a:ln>
                  <a:noFill/>
                </a:ln>
                <a:solidFill>
                  <a:srgbClr val="070809">
                    <a:lumMod val="75000"/>
                    <a:alpha val="0"/>
                  </a:srgbClr>
                </a:solidFill>
                <a:effectLst/>
                <a:uLnTx/>
                <a:uFillTx/>
                <a:latin typeface="Aptos" panose="020B0004020202020204" pitchFamily="34" charset="0"/>
                <a:ea typeface="+mn-ea"/>
                <a:cs typeface="+mn-cs"/>
              </a:rPr>
              <a:t> </a:t>
            </a:r>
          </a:p>
        </p:txBody>
      </p:sp>
      <p:sp>
        <p:nvSpPr>
          <p:cNvPr id="11" name="Tijdelijke aanduiding voor tekst 39">
            <a:extLst>
              <a:ext uri="{FF2B5EF4-FFF2-40B4-BE49-F238E27FC236}">
                <a16:creationId xmlns:a16="http://schemas.microsoft.com/office/drawing/2014/main" id="{6D09BFB4-917E-7828-B986-604B5C6C2864}"/>
              </a:ext>
            </a:extLst>
          </p:cNvPr>
          <p:cNvSpPr txBox="1">
            <a:spLocks/>
          </p:cNvSpPr>
          <p:nvPr/>
        </p:nvSpPr>
        <p:spPr>
          <a:xfrm>
            <a:off x="8369616" y="5120567"/>
            <a:ext cx="207578" cy="207578"/>
          </a:xfrm>
          <a:custGeom>
            <a:avLst/>
            <a:gdLst>
              <a:gd name="connsiteX0" fmla="*/ 94956 w 276874"/>
              <a:gd name="connsiteY0" fmla="*/ 59856 h 276874"/>
              <a:gd name="connsiteX1" fmla="*/ 103888 w 276874"/>
              <a:gd name="connsiteY1" fmla="*/ 64938 h 276874"/>
              <a:gd name="connsiteX2" fmla="*/ 125104 w 276874"/>
              <a:gd name="connsiteY2" fmla="*/ 105108 h 276874"/>
              <a:gd name="connsiteX3" fmla="*/ 116036 w 276874"/>
              <a:gd name="connsiteY3" fmla="*/ 116204 h 276874"/>
              <a:gd name="connsiteX4" fmla="*/ 111416 w 276874"/>
              <a:gd name="connsiteY4" fmla="*/ 120206 h 276874"/>
              <a:gd name="connsiteX5" fmla="*/ 114936 w 276874"/>
              <a:gd name="connsiteY5" fmla="*/ 128856 h 276874"/>
              <a:gd name="connsiteX6" fmla="*/ 148050 w 276874"/>
              <a:gd name="connsiteY6" fmla="*/ 161970 h 276874"/>
              <a:gd name="connsiteX7" fmla="*/ 156699 w 276874"/>
              <a:gd name="connsiteY7" fmla="*/ 165490 h 276874"/>
              <a:gd name="connsiteX8" fmla="*/ 160675 w 276874"/>
              <a:gd name="connsiteY8" fmla="*/ 160896 h 276874"/>
              <a:gd name="connsiteX9" fmla="*/ 171787 w 276874"/>
              <a:gd name="connsiteY9" fmla="*/ 151807 h 276874"/>
              <a:gd name="connsiteX10" fmla="*/ 211963 w 276874"/>
              <a:gd name="connsiteY10" fmla="*/ 173013 h 276874"/>
              <a:gd name="connsiteX11" fmla="*/ 217018 w 276874"/>
              <a:gd name="connsiteY11" fmla="*/ 181919 h 276874"/>
              <a:gd name="connsiteX12" fmla="*/ 177618 w 276874"/>
              <a:gd name="connsiteY12" fmla="*/ 217018 h 276874"/>
              <a:gd name="connsiteX13" fmla="*/ 101703 w 276874"/>
              <a:gd name="connsiteY13" fmla="*/ 175218 h 276874"/>
              <a:gd name="connsiteX14" fmla="*/ 59856 w 276874"/>
              <a:gd name="connsiteY14" fmla="*/ 99257 h 276874"/>
              <a:gd name="connsiteX15" fmla="*/ 94956 w 276874"/>
              <a:gd name="connsiteY15" fmla="*/ 59856 h 276874"/>
              <a:gd name="connsiteX16" fmla="*/ 138437 w 276874"/>
              <a:gd name="connsiteY16" fmla="*/ 28575 h 276874"/>
              <a:gd name="connsiteX17" fmla="*/ 28575 w 276874"/>
              <a:gd name="connsiteY17" fmla="*/ 138437 h 276874"/>
              <a:gd name="connsiteX18" fmla="*/ 138437 w 276874"/>
              <a:gd name="connsiteY18" fmla="*/ 248299 h 276874"/>
              <a:gd name="connsiteX19" fmla="*/ 248299 w 276874"/>
              <a:gd name="connsiteY19" fmla="*/ 138437 h 276874"/>
              <a:gd name="connsiteX20" fmla="*/ 138437 w 276874"/>
              <a:gd name="connsiteY20" fmla="*/ 28575 h 276874"/>
              <a:gd name="connsiteX21" fmla="*/ 37447 w 276874"/>
              <a:gd name="connsiteY21" fmla="*/ 0 h 276874"/>
              <a:gd name="connsiteX22" fmla="*/ 239427 w 276874"/>
              <a:gd name="connsiteY22" fmla="*/ 0 h 276874"/>
              <a:gd name="connsiteX23" fmla="*/ 276874 w 276874"/>
              <a:gd name="connsiteY23" fmla="*/ 37447 h 276874"/>
              <a:gd name="connsiteX24" fmla="*/ 276874 w 276874"/>
              <a:gd name="connsiteY24" fmla="*/ 239427 h 276874"/>
              <a:gd name="connsiteX25" fmla="*/ 239427 w 276874"/>
              <a:gd name="connsiteY25" fmla="*/ 276874 h 276874"/>
              <a:gd name="connsiteX26" fmla="*/ 37447 w 276874"/>
              <a:gd name="connsiteY26" fmla="*/ 276874 h 276874"/>
              <a:gd name="connsiteX27" fmla="*/ 0 w 276874"/>
              <a:gd name="connsiteY27" fmla="*/ 239427 h 276874"/>
              <a:gd name="connsiteX28" fmla="*/ 0 w 276874"/>
              <a:gd name="connsiteY28" fmla="*/ 37447 h 276874"/>
              <a:gd name="connsiteX29" fmla="*/ 37447 w 276874"/>
              <a:gd name="connsiteY29" fmla="*/ 0 h 276874"/>
              <a:gd name="connsiteX0" fmla="*/ 94956 w 276874"/>
              <a:gd name="connsiteY0" fmla="*/ 59856 h 276903"/>
              <a:gd name="connsiteX1" fmla="*/ 103888 w 276874"/>
              <a:gd name="connsiteY1" fmla="*/ 64938 h 276903"/>
              <a:gd name="connsiteX2" fmla="*/ 125104 w 276874"/>
              <a:gd name="connsiteY2" fmla="*/ 105108 h 276903"/>
              <a:gd name="connsiteX3" fmla="*/ 116036 w 276874"/>
              <a:gd name="connsiteY3" fmla="*/ 116204 h 276903"/>
              <a:gd name="connsiteX4" fmla="*/ 111416 w 276874"/>
              <a:gd name="connsiteY4" fmla="*/ 120206 h 276903"/>
              <a:gd name="connsiteX5" fmla="*/ 114936 w 276874"/>
              <a:gd name="connsiteY5" fmla="*/ 128856 h 276903"/>
              <a:gd name="connsiteX6" fmla="*/ 148050 w 276874"/>
              <a:gd name="connsiteY6" fmla="*/ 161970 h 276903"/>
              <a:gd name="connsiteX7" fmla="*/ 156699 w 276874"/>
              <a:gd name="connsiteY7" fmla="*/ 165490 h 276903"/>
              <a:gd name="connsiteX8" fmla="*/ 160675 w 276874"/>
              <a:gd name="connsiteY8" fmla="*/ 160896 h 276903"/>
              <a:gd name="connsiteX9" fmla="*/ 171787 w 276874"/>
              <a:gd name="connsiteY9" fmla="*/ 151807 h 276903"/>
              <a:gd name="connsiteX10" fmla="*/ 211963 w 276874"/>
              <a:gd name="connsiteY10" fmla="*/ 173013 h 276903"/>
              <a:gd name="connsiteX11" fmla="*/ 217018 w 276874"/>
              <a:gd name="connsiteY11" fmla="*/ 181919 h 276903"/>
              <a:gd name="connsiteX12" fmla="*/ 177618 w 276874"/>
              <a:gd name="connsiteY12" fmla="*/ 217018 h 276903"/>
              <a:gd name="connsiteX13" fmla="*/ 101703 w 276874"/>
              <a:gd name="connsiteY13" fmla="*/ 175218 h 276903"/>
              <a:gd name="connsiteX14" fmla="*/ 59856 w 276874"/>
              <a:gd name="connsiteY14" fmla="*/ 99257 h 276903"/>
              <a:gd name="connsiteX15" fmla="*/ 94956 w 276874"/>
              <a:gd name="connsiteY15" fmla="*/ 59856 h 276903"/>
              <a:gd name="connsiteX16" fmla="*/ 138437 w 276874"/>
              <a:gd name="connsiteY16" fmla="*/ 28575 h 276903"/>
              <a:gd name="connsiteX17" fmla="*/ 28575 w 276874"/>
              <a:gd name="connsiteY17" fmla="*/ 138437 h 276903"/>
              <a:gd name="connsiteX18" fmla="*/ 138437 w 276874"/>
              <a:gd name="connsiteY18" fmla="*/ 248299 h 276903"/>
              <a:gd name="connsiteX19" fmla="*/ 248299 w 276874"/>
              <a:gd name="connsiteY19" fmla="*/ 138437 h 276903"/>
              <a:gd name="connsiteX20" fmla="*/ 138437 w 276874"/>
              <a:gd name="connsiteY20" fmla="*/ 28575 h 276903"/>
              <a:gd name="connsiteX21" fmla="*/ 37447 w 276874"/>
              <a:gd name="connsiteY21" fmla="*/ 0 h 276903"/>
              <a:gd name="connsiteX22" fmla="*/ 239427 w 276874"/>
              <a:gd name="connsiteY22" fmla="*/ 0 h 276903"/>
              <a:gd name="connsiteX23" fmla="*/ 276874 w 276874"/>
              <a:gd name="connsiteY23" fmla="*/ 37447 h 276903"/>
              <a:gd name="connsiteX24" fmla="*/ 276874 w 276874"/>
              <a:gd name="connsiteY24" fmla="*/ 239427 h 276903"/>
              <a:gd name="connsiteX25" fmla="*/ 37447 w 276874"/>
              <a:gd name="connsiteY25" fmla="*/ 276874 h 276903"/>
              <a:gd name="connsiteX26" fmla="*/ 0 w 276874"/>
              <a:gd name="connsiteY26" fmla="*/ 239427 h 276903"/>
              <a:gd name="connsiteX27" fmla="*/ 0 w 276874"/>
              <a:gd name="connsiteY27" fmla="*/ 37447 h 276903"/>
              <a:gd name="connsiteX28" fmla="*/ 37447 w 276874"/>
              <a:gd name="connsiteY28" fmla="*/ 0 h 276903"/>
              <a:gd name="connsiteX0" fmla="*/ 94956 w 292169"/>
              <a:gd name="connsiteY0" fmla="*/ 59856 h 276978"/>
              <a:gd name="connsiteX1" fmla="*/ 103888 w 292169"/>
              <a:gd name="connsiteY1" fmla="*/ 64938 h 276978"/>
              <a:gd name="connsiteX2" fmla="*/ 125104 w 292169"/>
              <a:gd name="connsiteY2" fmla="*/ 105108 h 276978"/>
              <a:gd name="connsiteX3" fmla="*/ 116036 w 292169"/>
              <a:gd name="connsiteY3" fmla="*/ 116204 h 276978"/>
              <a:gd name="connsiteX4" fmla="*/ 111416 w 292169"/>
              <a:gd name="connsiteY4" fmla="*/ 120206 h 276978"/>
              <a:gd name="connsiteX5" fmla="*/ 114936 w 292169"/>
              <a:gd name="connsiteY5" fmla="*/ 128856 h 276978"/>
              <a:gd name="connsiteX6" fmla="*/ 148050 w 292169"/>
              <a:gd name="connsiteY6" fmla="*/ 161970 h 276978"/>
              <a:gd name="connsiteX7" fmla="*/ 156699 w 292169"/>
              <a:gd name="connsiteY7" fmla="*/ 165490 h 276978"/>
              <a:gd name="connsiteX8" fmla="*/ 160675 w 292169"/>
              <a:gd name="connsiteY8" fmla="*/ 160896 h 276978"/>
              <a:gd name="connsiteX9" fmla="*/ 171787 w 292169"/>
              <a:gd name="connsiteY9" fmla="*/ 151807 h 276978"/>
              <a:gd name="connsiteX10" fmla="*/ 211963 w 292169"/>
              <a:gd name="connsiteY10" fmla="*/ 173013 h 276978"/>
              <a:gd name="connsiteX11" fmla="*/ 217018 w 292169"/>
              <a:gd name="connsiteY11" fmla="*/ 181919 h 276978"/>
              <a:gd name="connsiteX12" fmla="*/ 177618 w 292169"/>
              <a:gd name="connsiteY12" fmla="*/ 217018 h 276978"/>
              <a:gd name="connsiteX13" fmla="*/ 101703 w 292169"/>
              <a:gd name="connsiteY13" fmla="*/ 175218 h 276978"/>
              <a:gd name="connsiteX14" fmla="*/ 59856 w 292169"/>
              <a:gd name="connsiteY14" fmla="*/ 99257 h 276978"/>
              <a:gd name="connsiteX15" fmla="*/ 94956 w 292169"/>
              <a:gd name="connsiteY15" fmla="*/ 59856 h 276978"/>
              <a:gd name="connsiteX16" fmla="*/ 138437 w 292169"/>
              <a:gd name="connsiteY16" fmla="*/ 28575 h 276978"/>
              <a:gd name="connsiteX17" fmla="*/ 28575 w 292169"/>
              <a:gd name="connsiteY17" fmla="*/ 138437 h 276978"/>
              <a:gd name="connsiteX18" fmla="*/ 138437 w 292169"/>
              <a:gd name="connsiteY18" fmla="*/ 248299 h 276978"/>
              <a:gd name="connsiteX19" fmla="*/ 248299 w 292169"/>
              <a:gd name="connsiteY19" fmla="*/ 138437 h 276978"/>
              <a:gd name="connsiteX20" fmla="*/ 138437 w 292169"/>
              <a:gd name="connsiteY20" fmla="*/ 28575 h 276978"/>
              <a:gd name="connsiteX21" fmla="*/ 37447 w 292169"/>
              <a:gd name="connsiteY21" fmla="*/ 0 h 276978"/>
              <a:gd name="connsiteX22" fmla="*/ 239427 w 292169"/>
              <a:gd name="connsiteY22" fmla="*/ 0 h 276978"/>
              <a:gd name="connsiteX23" fmla="*/ 276874 w 292169"/>
              <a:gd name="connsiteY23" fmla="*/ 37447 h 276978"/>
              <a:gd name="connsiteX24" fmla="*/ 276874 w 292169"/>
              <a:gd name="connsiteY24" fmla="*/ 239427 h 276978"/>
              <a:gd name="connsiteX25" fmla="*/ 273699 w 292169"/>
              <a:gd name="connsiteY25" fmla="*/ 250274 h 276978"/>
              <a:gd name="connsiteX26" fmla="*/ 37447 w 292169"/>
              <a:gd name="connsiteY26" fmla="*/ 276874 h 276978"/>
              <a:gd name="connsiteX27" fmla="*/ 0 w 292169"/>
              <a:gd name="connsiteY27" fmla="*/ 239427 h 276978"/>
              <a:gd name="connsiteX28" fmla="*/ 0 w 292169"/>
              <a:gd name="connsiteY28" fmla="*/ 37447 h 276978"/>
              <a:gd name="connsiteX29" fmla="*/ 37447 w 292169"/>
              <a:gd name="connsiteY29" fmla="*/ 0 h 276978"/>
              <a:gd name="connsiteX0" fmla="*/ 94956 w 292169"/>
              <a:gd name="connsiteY0" fmla="*/ 59856 h 276978"/>
              <a:gd name="connsiteX1" fmla="*/ 103888 w 292169"/>
              <a:gd name="connsiteY1" fmla="*/ 64938 h 276978"/>
              <a:gd name="connsiteX2" fmla="*/ 125104 w 292169"/>
              <a:gd name="connsiteY2" fmla="*/ 105108 h 276978"/>
              <a:gd name="connsiteX3" fmla="*/ 116036 w 292169"/>
              <a:gd name="connsiteY3" fmla="*/ 116204 h 276978"/>
              <a:gd name="connsiteX4" fmla="*/ 111416 w 292169"/>
              <a:gd name="connsiteY4" fmla="*/ 120206 h 276978"/>
              <a:gd name="connsiteX5" fmla="*/ 114936 w 292169"/>
              <a:gd name="connsiteY5" fmla="*/ 128856 h 276978"/>
              <a:gd name="connsiteX6" fmla="*/ 148050 w 292169"/>
              <a:gd name="connsiteY6" fmla="*/ 161970 h 276978"/>
              <a:gd name="connsiteX7" fmla="*/ 156699 w 292169"/>
              <a:gd name="connsiteY7" fmla="*/ 165490 h 276978"/>
              <a:gd name="connsiteX8" fmla="*/ 160675 w 292169"/>
              <a:gd name="connsiteY8" fmla="*/ 160896 h 276978"/>
              <a:gd name="connsiteX9" fmla="*/ 171787 w 292169"/>
              <a:gd name="connsiteY9" fmla="*/ 151807 h 276978"/>
              <a:gd name="connsiteX10" fmla="*/ 211963 w 292169"/>
              <a:gd name="connsiteY10" fmla="*/ 173013 h 276978"/>
              <a:gd name="connsiteX11" fmla="*/ 217018 w 292169"/>
              <a:gd name="connsiteY11" fmla="*/ 181919 h 276978"/>
              <a:gd name="connsiteX12" fmla="*/ 177618 w 292169"/>
              <a:gd name="connsiteY12" fmla="*/ 217018 h 276978"/>
              <a:gd name="connsiteX13" fmla="*/ 101703 w 292169"/>
              <a:gd name="connsiteY13" fmla="*/ 175218 h 276978"/>
              <a:gd name="connsiteX14" fmla="*/ 59856 w 292169"/>
              <a:gd name="connsiteY14" fmla="*/ 99257 h 276978"/>
              <a:gd name="connsiteX15" fmla="*/ 94956 w 292169"/>
              <a:gd name="connsiteY15" fmla="*/ 59856 h 276978"/>
              <a:gd name="connsiteX16" fmla="*/ 138437 w 292169"/>
              <a:gd name="connsiteY16" fmla="*/ 28575 h 276978"/>
              <a:gd name="connsiteX17" fmla="*/ 28575 w 292169"/>
              <a:gd name="connsiteY17" fmla="*/ 138437 h 276978"/>
              <a:gd name="connsiteX18" fmla="*/ 248299 w 292169"/>
              <a:gd name="connsiteY18" fmla="*/ 138437 h 276978"/>
              <a:gd name="connsiteX19" fmla="*/ 138437 w 292169"/>
              <a:gd name="connsiteY19" fmla="*/ 28575 h 276978"/>
              <a:gd name="connsiteX20" fmla="*/ 37447 w 292169"/>
              <a:gd name="connsiteY20" fmla="*/ 0 h 276978"/>
              <a:gd name="connsiteX21" fmla="*/ 239427 w 292169"/>
              <a:gd name="connsiteY21" fmla="*/ 0 h 276978"/>
              <a:gd name="connsiteX22" fmla="*/ 276874 w 292169"/>
              <a:gd name="connsiteY22" fmla="*/ 37447 h 276978"/>
              <a:gd name="connsiteX23" fmla="*/ 276874 w 292169"/>
              <a:gd name="connsiteY23" fmla="*/ 239427 h 276978"/>
              <a:gd name="connsiteX24" fmla="*/ 273699 w 292169"/>
              <a:gd name="connsiteY24" fmla="*/ 250274 h 276978"/>
              <a:gd name="connsiteX25" fmla="*/ 37447 w 292169"/>
              <a:gd name="connsiteY25" fmla="*/ 276874 h 276978"/>
              <a:gd name="connsiteX26" fmla="*/ 0 w 292169"/>
              <a:gd name="connsiteY26" fmla="*/ 239427 h 276978"/>
              <a:gd name="connsiteX27" fmla="*/ 0 w 292169"/>
              <a:gd name="connsiteY27" fmla="*/ 37447 h 276978"/>
              <a:gd name="connsiteX28" fmla="*/ 37447 w 292169"/>
              <a:gd name="connsiteY28" fmla="*/ 0 h 276978"/>
              <a:gd name="connsiteX0" fmla="*/ 94956 w 276874"/>
              <a:gd name="connsiteY0" fmla="*/ 59856 h 276903"/>
              <a:gd name="connsiteX1" fmla="*/ 103888 w 276874"/>
              <a:gd name="connsiteY1" fmla="*/ 64938 h 276903"/>
              <a:gd name="connsiteX2" fmla="*/ 125104 w 276874"/>
              <a:gd name="connsiteY2" fmla="*/ 105108 h 276903"/>
              <a:gd name="connsiteX3" fmla="*/ 116036 w 276874"/>
              <a:gd name="connsiteY3" fmla="*/ 116204 h 276903"/>
              <a:gd name="connsiteX4" fmla="*/ 111416 w 276874"/>
              <a:gd name="connsiteY4" fmla="*/ 120206 h 276903"/>
              <a:gd name="connsiteX5" fmla="*/ 114936 w 276874"/>
              <a:gd name="connsiteY5" fmla="*/ 128856 h 276903"/>
              <a:gd name="connsiteX6" fmla="*/ 148050 w 276874"/>
              <a:gd name="connsiteY6" fmla="*/ 161970 h 276903"/>
              <a:gd name="connsiteX7" fmla="*/ 156699 w 276874"/>
              <a:gd name="connsiteY7" fmla="*/ 165490 h 276903"/>
              <a:gd name="connsiteX8" fmla="*/ 160675 w 276874"/>
              <a:gd name="connsiteY8" fmla="*/ 160896 h 276903"/>
              <a:gd name="connsiteX9" fmla="*/ 171787 w 276874"/>
              <a:gd name="connsiteY9" fmla="*/ 151807 h 276903"/>
              <a:gd name="connsiteX10" fmla="*/ 211963 w 276874"/>
              <a:gd name="connsiteY10" fmla="*/ 173013 h 276903"/>
              <a:gd name="connsiteX11" fmla="*/ 217018 w 276874"/>
              <a:gd name="connsiteY11" fmla="*/ 181919 h 276903"/>
              <a:gd name="connsiteX12" fmla="*/ 177618 w 276874"/>
              <a:gd name="connsiteY12" fmla="*/ 217018 h 276903"/>
              <a:gd name="connsiteX13" fmla="*/ 101703 w 276874"/>
              <a:gd name="connsiteY13" fmla="*/ 175218 h 276903"/>
              <a:gd name="connsiteX14" fmla="*/ 59856 w 276874"/>
              <a:gd name="connsiteY14" fmla="*/ 99257 h 276903"/>
              <a:gd name="connsiteX15" fmla="*/ 94956 w 276874"/>
              <a:gd name="connsiteY15" fmla="*/ 59856 h 276903"/>
              <a:gd name="connsiteX16" fmla="*/ 138437 w 276874"/>
              <a:gd name="connsiteY16" fmla="*/ 28575 h 276903"/>
              <a:gd name="connsiteX17" fmla="*/ 28575 w 276874"/>
              <a:gd name="connsiteY17" fmla="*/ 138437 h 276903"/>
              <a:gd name="connsiteX18" fmla="*/ 248299 w 276874"/>
              <a:gd name="connsiteY18" fmla="*/ 138437 h 276903"/>
              <a:gd name="connsiteX19" fmla="*/ 138437 w 276874"/>
              <a:gd name="connsiteY19" fmla="*/ 28575 h 276903"/>
              <a:gd name="connsiteX20" fmla="*/ 37447 w 276874"/>
              <a:gd name="connsiteY20" fmla="*/ 0 h 276903"/>
              <a:gd name="connsiteX21" fmla="*/ 239427 w 276874"/>
              <a:gd name="connsiteY21" fmla="*/ 0 h 276903"/>
              <a:gd name="connsiteX22" fmla="*/ 276874 w 276874"/>
              <a:gd name="connsiteY22" fmla="*/ 37447 h 276903"/>
              <a:gd name="connsiteX23" fmla="*/ 276874 w 276874"/>
              <a:gd name="connsiteY23" fmla="*/ 239427 h 276903"/>
              <a:gd name="connsiteX24" fmla="*/ 37447 w 276874"/>
              <a:gd name="connsiteY24" fmla="*/ 276874 h 276903"/>
              <a:gd name="connsiteX25" fmla="*/ 0 w 276874"/>
              <a:gd name="connsiteY25" fmla="*/ 239427 h 276903"/>
              <a:gd name="connsiteX26" fmla="*/ 0 w 276874"/>
              <a:gd name="connsiteY26" fmla="*/ 37447 h 276903"/>
              <a:gd name="connsiteX27" fmla="*/ 37447 w 276874"/>
              <a:gd name="connsiteY27" fmla="*/ 0 h 276903"/>
              <a:gd name="connsiteX0" fmla="*/ 94956 w 276874"/>
              <a:gd name="connsiteY0" fmla="*/ 59856 h 276874"/>
              <a:gd name="connsiteX1" fmla="*/ 103888 w 276874"/>
              <a:gd name="connsiteY1" fmla="*/ 64938 h 276874"/>
              <a:gd name="connsiteX2" fmla="*/ 125104 w 276874"/>
              <a:gd name="connsiteY2" fmla="*/ 105108 h 276874"/>
              <a:gd name="connsiteX3" fmla="*/ 116036 w 276874"/>
              <a:gd name="connsiteY3" fmla="*/ 116204 h 276874"/>
              <a:gd name="connsiteX4" fmla="*/ 111416 w 276874"/>
              <a:gd name="connsiteY4" fmla="*/ 120206 h 276874"/>
              <a:gd name="connsiteX5" fmla="*/ 114936 w 276874"/>
              <a:gd name="connsiteY5" fmla="*/ 128856 h 276874"/>
              <a:gd name="connsiteX6" fmla="*/ 148050 w 276874"/>
              <a:gd name="connsiteY6" fmla="*/ 161970 h 276874"/>
              <a:gd name="connsiteX7" fmla="*/ 156699 w 276874"/>
              <a:gd name="connsiteY7" fmla="*/ 165490 h 276874"/>
              <a:gd name="connsiteX8" fmla="*/ 160675 w 276874"/>
              <a:gd name="connsiteY8" fmla="*/ 160896 h 276874"/>
              <a:gd name="connsiteX9" fmla="*/ 171787 w 276874"/>
              <a:gd name="connsiteY9" fmla="*/ 151807 h 276874"/>
              <a:gd name="connsiteX10" fmla="*/ 211963 w 276874"/>
              <a:gd name="connsiteY10" fmla="*/ 173013 h 276874"/>
              <a:gd name="connsiteX11" fmla="*/ 217018 w 276874"/>
              <a:gd name="connsiteY11" fmla="*/ 181919 h 276874"/>
              <a:gd name="connsiteX12" fmla="*/ 177618 w 276874"/>
              <a:gd name="connsiteY12" fmla="*/ 217018 h 276874"/>
              <a:gd name="connsiteX13" fmla="*/ 101703 w 276874"/>
              <a:gd name="connsiteY13" fmla="*/ 175218 h 276874"/>
              <a:gd name="connsiteX14" fmla="*/ 59856 w 276874"/>
              <a:gd name="connsiteY14" fmla="*/ 99257 h 276874"/>
              <a:gd name="connsiteX15" fmla="*/ 94956 w 276874"/>
              <a:gd name="connsiteY15" fmla="*/ 59856 h 276874"/>
              <a:gd name="connsiteX16" fmla="*/ 138437 w 276874"/>
              <a:gd name="connsiteY16" fmla="*/ 28575 h 276874"/>
              <a:gd name="connsiteX17" fmla="*/ 28575 w 276874"/>
              <a:gd name="connsiteY17" fmla="*/ 138437 h 276874"/>
              <a:gd name="connsiteX18" fmla="*/ 248299 w 276874"/>
              <a:gd name="connsiteY18" fmla="*/ 138437 h 276874"/>
              <a:gd name="connsiteX19" fmla="*/ 138437 w 276874"/>
              <a:gd name="connsiteY19" fmla="*/ 28575 h 276874"/>
              <a:gd name="connsiteX20" fmla="*/ 37447 w 276874"/>
              <a:gd name="connsiteY20" fmla="*/ 0 h 276874"/>
              <a:gd name="connsiteX21" fmla="*/ 239427 w 276874"/>
              <a:gd name="connsiteY21" fmla="*/ 0 h 276874"/>
              <a:gd name="connsiteX22" fmla="*/ 276874 w 276874"/>
              <a:gd name="connsiteY22" fmla="*/ 37447 h 276874"/>
              <a:gd name="connsiteX23" fmla="*/ 37447 w 276874"/>
              <a:gd name="connsiteY23" fmla="*/ 276874 h 276874"/>
              <a:gd name="connsiteX24" fmla="*/ 0 w 276874"/>
              <a:gd name="connsiteY24" fmla="*/ 239427 h 276874"/>
              <a:gd name="connsiteX25" fmla="*/ 0 w 276874"/>
              <a:gd name="connsiteY25" fmla="*/ 37447 h 276874"/>
              <a:gd name="connsiteX26" fmla="*/ 37447 w 276874"/>
              <a:gd name="connsiteY26" fmla="*/ 0 h 276874"/>
              <a:gd name="connsiteX0" fmla="*/ 94956 w 251352"/>
              <a:gd name="connsiteY0" fmla="*/ 59856 h 276874"/>
              <a:gd name="connsiteX1" fmla="*/ 103888 w 251352"/>
              <a:gd name="connsiteY1" fmla="*/ 64938 h 276874"/>
              <a:gd name="connsiteX2" fmla="*/ 125104 w 251352"/>
              <a:gd name="connsiteY2" fmla="*/ 105108 h 276874"/>
              <a:gd name="connsiteX3" fmla="*/ 116036 w 251352"/>
              <a:gd name="connsiteY3" fmla="*/ 116204 h 276874"/>
              <a:gd name="connsiteX4" fmla="*/ 111416 w 251352"/>
              <a:gd name="connsiteY4" fmla="*/ 120206 h 276874"/>
              <a:gd name="connsiteX5" fmla="*/ 114936 w 251352"/>
              <a:gd name="connsiteY5" fmla="*/ 128856 h 276874"/>
              <a:gd name="connsiteX6" fmla="*/ 148050 w 251352"/>
              <a:gd name="connsiteY6" fmla="*/ 161970 h 276874"/>
              <a:gd name="connsiteX7" fmla="*/ 156699 w 251352"/>
              <a:gd name="connsiteY7" fmla="*/ 165490 h 276874"/>
              <a:gd name="connsiteX8" fmla="*/ 160675 w 251352"/>
              <a:gd name="connsiteY8" fmla="*/ 160896 h 276874"/>
              <a:gd name="connsiteX9" fmla="*/ 171787 w 251352"/>
              <a:gd name="connsiteY9" fmla="*/ 151807 h 276874"/>
              <a:gd name="connsiteX10" fmla="*/ 211963 w 251352"/>
              <a:gd name="connsiteY10" fmla="*/ 173013 h 276874"/>
              <a:gd name="connsiteX11" fmla="*/ 217018 w 251352"/>
              <a:gd name="connsiteY11" fmla="*/ 181919 h 276874"/>
              <a:gd name="connsiteX12" fmla="*/ 177618 w 251352"/>
              <a:gd name="connsiteY12" fmla="*/ 217018 h 276874"/>
              <a:gd name="connsiteX13" fmla="*/ 101703 w 251352"/>
              <a:gd name="connsiteY13" fmla="*/ 175218 h 276874"/>
              <a:gd name="connsiteX14" fmla="*/ 59856 w 251352"/>
              <a:gd name="connsiteY14" fmla="*/ 99257 h 276874"/>
              <a:gd name="connsiteX15" fmla="*/ 94956 w 251352"/>
              <a:gd name="connsiteY15" fmla="*/ 59856 h 276874"/>
              <a:gd name="connsiteX16" fmla="*/ 138437 w 251352"/>
              <a:gd name="connsiteY16" fmla="*/ 28575 h 276874"/>
              <a:gd name="connsiteX17" fmla="*/ 28575 w 251352"/>
              <a:gd name="connsiteY17" fmla="*/ 138437 h 276874"/>
              <a:gd name="connsiteX18" fmla="*/ 248299 w 251352"/>
              <a:gd name="connsiteY18" fmla="*/ 138437 h 276874"/>
              <a:gd name="connsiteX19" fmla="*/ 138437 w 251352"/>
              <a:gd name="connsiteY19" fmla="*/ 28575 h 276874"/>
              <a:gd name="connsiteX20" fmla="*/ 37447 w 251352"/>
              <a:gd name="connsiteY20" fmla="*/ 0 h 276874"/>
              <a:gd name="connsiteX21" fmla="*/ 239427 w 251352"/>
              <a:gd name="connsiteY21" fmla="*/ 0 h 276874"/>
              <a:gd name="connsiteX22" fmla="*/ 37447 w 251352"/>
              <a:gd name="connsiteY22" fmla="*/ 276874 h 276874"/>
              <a:gd name="connsiteX23" fmla="*/ 0 w 251352"/>
              <a:gd name="connsiteY23" fmla="*/ 239427 h 276874"/>
              <a:gd name="connsiteX24" fmla="*/ 0 w 251352"/>
              <a:gd name="connsiteY24" fmla="*/ 37447 h 276874"/>
              <a:gd name="connsiteX25" fmla="*/ 37447 w 251352"/>
              <a:gd name="connsiteY25" fmla="*/ 0 h 276874"/>
              <a:gd name="connsiteX0" fmla="*/ 94956 w 251352"/>
              <a:gd name="connsiteY0" fmla="*/ 59856 h 276874"/>
              <a:gd name="connsiteX1" fmla="*/ 103888 w 251352"/>
              <a:gd name="connsiteY1" fmla="*/ 64938 h 276874"/>
              <a:gd name="connsiteX2" fmla="*/ 125104 w 251352"/>
              <a:gd name="connsiteY2" fmla="*/ 105108 h 276874"/>
              <a:gd name="connsiteX3" fmla="*/ 116036 w 251352"/>
              <a:gd name="connsiteY3" fmla="*/ 116204 h 276874"/>
              <a:gd name="connsiteX4" fmla="*/ 111416 w 251352"/>
              <a:gd name="connsiteY4" fmla="*/ 120206 h 276874"/>
              <a:gd name="connsiteX5" fmla="*/ 114936 w 251352"/>
              <a:gd name="connsiteY5" fmla="*/ 128856 h 276874"/>
              <a:gd name="connsiteX6" fmla="*/ 148050 w 251352"/>
              <a:gd name="connsiteY6" fmla="*/ 161970 h 276874"/>
              <a:gd name="connsiteX7" fmla="*/ 156699 w 251352"/>
              <a:gd name="connsiteY7" fmla="*/ 165490 h 276874"/>
              <a:gd name="connsiteX8" fmla="*/ 160675 w 251352"/>
              <a:gd name="connsiteY8" fmla="*/ 160896 h 276874"/>
              <a:gd name="connsiteX9" fmla="*/ 171787 w 251352"/>
              <a:gd name="connsiteY9" fmla="*/ 151807 h 276874"/>
              <a:gd name="connsiteX10" fmla="*/ 211963 w 251352"/>
              <a:gd name="connsiteY10" fmla="*/ 173013 h 276874"/>
              <a:gd name="connsiteX11" fmla="*/ 217018 w 251352"/>
              <a:gd name="connsiteY11" fmla="*/ 181919 h 276874"/>
              <a:gd name="connsiteX12" fmla="*/ 177618 w 251352"/>
              <a:gd name="connsiteY12" fmla="*/ 217018 h 276874"/>
              <a:gd name="connsiteX13" fmla="*/ 101703 w 251352"/>
              <a:gd name="connsiteY13" fmla="*/ 175218 h 276874"/>
              <a:gd name="connsiteX14" fmla="*/ 59856 w 251352"/>
              <a:gd name="connsiteY14" fmla="*/ 99257 h 276874"/>
              <a:gd name="connsiteX15" fmla="*/ 94956 w 251352"/>
              <a:gd name="connsiteY15" fmla="*/ 59856 h 276874"/>
              <a:gd name="connsiteX16" fmla="*/ 138437 w 251352"/>
              <a:gd name="connsiteY16" fmla="*/ 28575 h 276874"/>
              <a:gd name="connsiteX17" fmla="*/ 28575 w 251352"/>
              <a:gd name="connsiteY17" fmla="*/ 138437 h 276874"/>
              <a:gd name="connsiteX18" fmla="*/ 248299 w 251352"/>
              <a:gd name="connsiteY18" fmla="*/ 138437 h 276874"/>
              <a:gd name="connsiteX19" fmla="*/ 138437 w 251352"/>
              <a:gd name="connsiteY19" fmla="*/ 28575 h 276874"/>
              <a:gd name="connsiteX20" fmla="*/ 37447 w 251352"/>
              <a:gd name="connsiteY20" fmla="*/ 0 h 276874"/>
              <a:gd name="connsiteX21" fmla="*/ 37447 w 251352"/>
              <a:gd name="connsiteY21" fmla="*/ 276874 h 276874"/>
              <a:gd name="connsiteX22" fmla="*/ 0 w 251352"/>
              <a:gd name="connsiteY22" fmla="*/ 239427 h 276874"/>
              <a:gd name="connsiteX23" fmla="*/ 0 w 251352"/>
              <a:gd name="connsiteY23" fmla="*/ 37447 h 276874"/>
              <a:gd name="connsiteX24" fmla="*/ 37447 w 251352"/>
              <a:gd name="connsiteY24" fmla="*/ 0 h 276874"/>
              <a:gd name="connsiteX0" fmla="*/ 94956 w 217018"/>
              <a:gd name="connsiteY0" fmla="*/ 59856 h 276874"/>
              <a:gd name="connsiteX1" fmla="*/ 103888 w 217018"/>
              <a:gd name="connsiteY1" fmla="*/ 64938 h 276874"/>
              <a:gd name="connsiteX2" fmla="*/ 125104 w 217018"/>
              <a:gd name="connsiteY2" fmla="*/ 105108 h 276874"/>
              <a:gd name="connsiteX3" fmla="*/ 116036 w 217018"/>
              <a:gd name="connsiteY3" fmla="*/ 116204 h 276874"/>
              <a:gd name="connsiteX4" fmla="*/ 111416 w 217018"/>
              <a:gd name="connsiteY4" fmla="*/ 120206 h 276874"/>
              <a:gd name="connsiteX5" fmla="*/ 114936 w 217018"/>
              <a:gd name="connsiteY5" fmla="*/ 128856 h 276874"/>
              <a:gd name="connsiteX6" fmla="*/ 148050 w 217018"/>
              <a:gd name="connsiteY6" fmla="*/ 161970 h 276874"/>
              <a:gd name="connsiteX7" fmla="*/ 156699 w 217018"/>
              <a:gd name="connsiteY7" fmla="*/ 165490 h 276874"/>
              <a:gd name="connsiteX8" fmla="*/ 160675 w 217018"/>
              <a:gd name="connsiteY8" fmla="*/ 160896 h 276874"/>
              <a:gd name="connsiteX9" fmla="*/ 171787 w 217018"/>
              <a:gd name="connsiteY9" fmla="*/ 151807 h 276874"/>
              <a:gd name="connsiteX10" fmla="*/ 211963 w 217018"/>
              <a:gd name="connsiteY10" fmla="*/ 173013 h 276874"/>
              <a:gd name="connsiteX11" fmla="*/ 217018 w 217018"/>
              <a:gd name="connsiteY11" fmla="*/ 181919 h 276874"/>
              <a:gd name="connsiteX12" fmla="*/ 177618 w 217018"/>
              <a:gd name="connsiteY12" fmla="*/ 217018 h 276874"/>
              <a:gd name="connsiteX13" fmla="*/ 101703 w 217018"/>
              <a:gd name="connsiteY13" fmla="*/ 175218 h 276874"/>
              <a:gd name="connsiteX14" fmla="*/ 59856 w 217018"/>
              <a:gd name="connsiteY14" fmla="*/ 99257 h 276874"/>
              <a:gd name="connsiteX15" fmla="*/ 94956 w 217018"/>
              <a:gd name="connsiteY15" fmla="*/ 59856 h 276874"/>
              <a:gd name="connsiteX16" fmla="*/ 138437 w 217018"/>
              <a:gd name="connsiteY16" fmla="*/ 28575 h 276874"/>
              <a:gd name="connsiteX17" fmla="*/ 28575 w 217018"/>
              <a:gd name="connsiteY17" fmla="*/ 138437 h 276874"/>
              <a:gd name="connsiteX18" fmla="*/ 138437 w 217018"/>
              <a:gd name="connsiteY18" fmla="*/ 28575 h 276874"/>
              <a:gd name="connsiteX19" fmla="*/ 37447 w 217018"/>
              <a:gd name="connsiteY19" fmla="*/ 0 h 276874"/>
              <a:gd name="connsiteX20" fmla="*/ 37447 w 217018"/>
              <a:gd name="connsiteY20" fmla="*/ 276874 h 276874"/>
              <a:gd name="connsiteX21" fmla="*/ 0 w 217018"/>
              <a:gd name="connsiteY21" fmla="*/ 239427 h 276874"/>
              <a:gd name="connsiteX22" fmla="*/ 0 w 217018"/>
              <a:gd name="connsiteY22" fmla="*/ 37447 h 276874"/>
              <a:gd name="connsiteX23" fmla="*/ 37447 w 217018"/>
              <a:gd name="connsiteY23" fmla="*/ 0 h 276874"/>
              <a:gd name="connsiteX0" fmla="*/ 94956 w 217018"/>
              <a:gd name="connsiteY0" fmla="*/ 59856 h 239427"/>
              <a:gd name="connsiteX1" fmla="*/ 103888 w 217018"/>
              <a:gd name="connsiteY1" fmla="*/ 64938 h 239427"/>
              <a:gd name="connsiteX2" fmla="*/ 125104 w 217018"/>
              <a:gd name="connsiteY2" fmla="*/ 105108 h 239427"/>
              <a:gd name="connsiteX3" fmla="*/ 116036 w 217018"/>
              <a:gd name="connsiteY3" fmla="*/ 116204 h 239427"/>
              <a:gd name="connsiteX4" fmla="*/ 111416 w 217018"/>
              <a:gd name="connsiteY4" fmla="*/ 120206 h 239427"/>
              <a:gd name="connsiteX5" fmla="*/ 114936 w 217018"/>
              <a:gd name="connsiteY5" fmla="*/ 128856 h 239427"/>
              <a:gd name="connsiteX6" fmla="*/ 148050 w 217018"/>
              <a:gd name="connsiteY6" fmla="*/ 161970 h 239427"/>
              <a:gd name="connsiteX7" fmla="*/ 156699 w 217018"/>
              <a:gd name="connsiteY7" fmla="*/ 165490 h 239427"/>
              <a:gd name="connsiteX8" fmla="*/ 160675 w 217018"/>
              <a:gd name="connsiteY8" fmla="*/ 160896 h 239427"/>
              <a:gd name="connsiteX9" fmla="*/ 171787 w 217018"/>
              <a:gd name="connsiteY9" fmla="*/ 151807 h 239427"/>
              <a:gd name="connsiteX10" fmla="*/ 211963 w 217018"/>
              <a:gd name="connsiteY10" fmla="*/ 173013 h 239427"/>
              <a:gd name="connsiteX11" fmla="*/ 217018 w 217018"/>
              <a:gd name="connsiteY11" fmla="*/ 181919 h 239427"/>
              <a:gd name="connsiteX12" fmla="*/ 177618 w 217018"/>
              <a:gd name="connsiteY12" fmla="*/ 217018 h 239427"/>
              <a:gd name="connsiteX13" fmla="*/ 101703 w 217018"/>
              <a:gd name="connsiteY13" fmla="*/ 175218 h 239427"/>
              <a:gd name="connsiteX14" fmla="*/ 59856 w 217018"/>
              <a:gd name="connsiteY14" fmla="*/ 99257 h 239427"/>
              <a:gd name="connsiteX15" fmla="*/ 94956 w 217018"/>
              <a:gd name="connsiteY15" fmla="*/ 59856 h 239427"/>
              <a:gd name="connsiteX16" fmla="*/ 138437 w 217018"/>
              <a:gd name="connsiteY16" fmla="*/ 28575 h 239427"/>
              <a:gd name="connsiteX17" fmla="*/ 28575 w 217018"/>
              <a:gd name="connsiteY17" fmla="*/ 138437 h 239427"/>
              <a:gd name="connsiteX18" fmla="*/ 138437 w 217018"/>
              <a:gd name="connsiteY18" fmla="*/ 28575 h 239427"/>
              <a:gd name="connsiteX19" fmla="*/ 37447 w 217018"/>
              <a:gd name="connsiteY19" fmla="*/ 0 h 239427"/>
              <a:gd name="connsiteX20" fmla="*/ 0 w 217018"/>
              <a:gd name="connsiteY20" fmla="*/ 239427 h 239427"/>
              <a:gd name="connsiteX21" fmla="*/ 0 w 217018"/>
              <a:gd name="connsiteY21" fmla="*/ 37447 h 239427"/>
              <a:gd name="connsiteX22" fmla="*/ 37447 w 217018"/>
              <a:gd name="connsiteY22" fmla="*/ 0 h 239427"/>
              <a:gd name="connsiteX0" fmla="*/ 94956 w 217018"/>
              <a:gd name="connsiteY0" fmla="*/ 59856 h 217018"/>
              <a:gd name="connsiteX1" fmla="*/ 103888 w 217018"/>
              <a:gd name="connsiteY1" fmla="*/ 64938 h 217018"/>
              <a:gd name="connsiteX2" fmla="*/ 125104 w 217018"/>
              <a:gd name="connsiteY2" fmla="*/ 105108 h 217018"/>
              <a:gd name="connsiteX3" fmla="*/ 116036 w 217018"/>
              <a:gd name="connsiteY3" fmla="*/ 116204 h 217018"/>
              <a:gd name="connsiteX4" fmla="*/ 111416 w 217018"/>
              <a:gd name="connsiteY4" fmla="*/ 120206 h 217018"/>
              <a:gd name="connsiteX5" fmla="*/ 114936 w 217018"/>
              <a:gd name="connsiteY5" fmla="*/ 128856 h 217018"/>
              <a:gd name="connsiteX6" fmla="*/ 148050 w 217018"/>
              <a:gd name="connsiteY6" fmla="*/ 161970 h 217018"/>
              <a:gd name="connsiteX7" fmla="*/ 156699 w 217018"/>
              <a:gd name="connsiteY7" fmla="*/ 165490 h 217018"/>
              <a:gd name="connsiteX8" fmla="*/ 160675 w 217018"/>
              <a:gd name="connsiteY8" fmla="*/ 160896 h 217018"/>
              <a:gd name="connsiteX9" fmla="*/ 171787 w 217018"/>
              <a:gd name="connsiteY9" fmla="*/ 151807 h 217018"/>
              <a:gd name="connsiteX10" fmla="*/ 211963 w 217018"/>
              <a:gd name="connsiteY10" fmla="*/ 173013 h 217018"/>
              <a:gd name="connsiteX11" fmla="*/ 217018 w 217018"/>
              <a:gd name="connsiteY11" fmla="*/ 181919 h 217018"/>
              <a:gd name="connsiteX12" fmla="*/ 177618 w 217018"/>
              <a:gd name="connsiteY12" fmla="*/ 217018 h 217018"/>
              <a:gd name="connsiteX13" fmla="*/ 101703 w 217018"/>
              <a:gd name="connsiteY13" fmla="*/ 175218 h 217018"/>
              <a:gd name="connsiteX14" fmla="*/ 59856 w 217018"/>
              <a:gd name="connsiteY14" fmla="*/ 99257 h 217018"/>
              <a:gd name="connsiteX15" fmla="*/ 94956 w 217018"/>
              <a:gd name="connsiteY15" fmla="*/ 59856 h 217018"/>
              <a:gd name="connsiteX16" fmla="*/ 138437 w 217018"/>
              <a:gd name="connsiteY16" fmla="*/ 28575 h 217018"/>
              <a:gd name="connsiteX17" fmla="*/ 28575 w 217018"/>
              <a:gd name="connsiteY17" fmla="*/ 138437 h 217018"/>
              <a:gd name="connsiteX18" fmla="*/ 138437 w 217018"/>
              <a:gd name="connsiteY18" fmla="*/ 28575 h 217018"/>
              <a:gd name="connsiteX19" fmla="*/ 37447 w 217018"/>
              <a:gd name="connsiteY19" fmla="*/ 0 h 217018"/>
              <a:gd name="connsiteX20" fmla="*/ 0 w 217018"/>
              <a:gd name="connsiteY20" fmla="*/ 37447 h 217018"/>
              <a:gd name="connsiteX21" fmla="*/ 37447 w 217018"/>
              <a:gd name="connsiteY21" fmla="*/ 0 h 217018"/>
              <a:gd name="connsiteX0" fmla="*/ 66381 w 188443"/>
              <a:gd name="connsiteY0" fmla="*/ 31281 h 188443"/>
              <a:gd name="connsiteX1" fmla="*/ 75313 w 188443"/>
              <a:gd name="connsiteY1" fmla="*/ 36363 h 188443"/>
              <a:gd name="connsiteX2" fmla="*/ 96529 w 188443"/>
              <a:gd name="connsiteY2" fmla="*/ 76533 h 188443"/>
              <a:gd name="connsiteX3" fmla="*/ 87461 w 188443"/>
              <a:gd name="connsiteY3" fmla="*/ 87629 h 188443"/>
              <a:gd name="connsiteX4" fmla="*/ 82841 w 188443"/>
              <a:gd name="connsiteY4" fmla="*/ 91631 h 188443"/>
              <a:gd name="connsiteX5" fmla="*/ 86361 w 188443"/>
              <a:gd name="connsiteY5" fmla="*/ 100281 h 188443"/>
              <a:gd name="connsiteX6" fmla="*/ 119475 w 188443"/>
              <a:gd name="connsiteY6" fmla="*/ 133395 h 188443"/>
              <a:gd name="connsiteX7" fmla="*/ 128124 w 188443"/>
              <a:gd name="connsiteY7" fmla="*/ 136915 h 188443"/>
              <a:gd name="connsiteX8" fmla="*/ 132100 w 188443"/>
              <a:gd name="connsiteY8" fmla="*/ 132321 h 188443"/>
              <a:gd name="connsiteX9" fmla="*/ 143212 w 188443"/>
              <a:gd name="connsiteY9" fmla="*/ 123232 h 188443"/>
              <a:gd name="connsiteX10" fmla="*/ 183388 w 188443"/>
              <a:gd name="connsiteY10" fmla="*/ 144438 h 188443"/>
              <a:gd name="connsiteX11" fmla="*/ 188443 w 188443"/>
              <a:gd name="connsiteY11" fmla="*/ 153344 h 188443"/>
              <a:gd name="connsiteX12" fmla="*/ 149043 w 188443"/>
              <a:gd name="connsiteY12" fmla="*/ 188443 h 188443"/>
              <a:gd name="connsiteX13" fmla="*/ 73128 w 188443"/>
              <a:gd name="connsiteY13" fmla="*/ 146643 h 188443"/>
              <a:gd name="connsiteX14" fmla="*/ 31281 w 188443"/>
              <a:gd name="connsiteY14" fmla="*/ 70682 h 188443"/>
              <a:gd name="connsiteX15" fmla="*/ 66381 w 188443"/>
              <a:gd name="connsiteY15" fmla="*/ 31281 h 188443"/>
              <a:gd name="connsiteX16" fmla="*/ 109862 w 188443"/>
              <a:gd name="connsiteY16" fmla="*/ 0 h 188443"/>
              <a:gd name="connsiteX17" fmla="*/ 0 w 188443"/>
              <a:gd name="connsiteY17" fmla="*/ 109862 h 188443"/>
              <a:gd name="connsiteX18" fmla="*/ 109862 w 188443"/>
              <a:gd name="connsiteY18" fmla="*/ 0 h 188443"/>
              <a:gd name="connsiteX0" fmla="*/ 35100 w 157162"/>
              <a:gd name="connsiteY0" fmla="*/ 0 h 157162"/>
              <a:gd name="connsiteX1" fmla="*/ 44032 w 157162"/>
              <a:gd name="connsiteY1" fmla="*/ 5082 h 157162"/>
              <a:gd name="connsiteX2" fmla="*/ 65248 w 157162"/>
              <a:gd name="connsiteY2" fmla="*/ 45252 h 157162"/>
              <a:gd name="connsiteX3" fmla="*/ 56180 w 157162"/>
              <a:gd name="connsiteY3" fmla="*/ 56348 h 157162"/>
              <a:gd name="connsiteX4" fmla="*/ 51560 w 157162"/>
              <a:gd name="connsiteY4" fmla="*/ 60350 h 157162"/>
              <a:gd name="connsiteX5" fmla="*/ 55080 w 157162"/>
              <a:gd name="connsiteY5" fmla="*/ 69000 h 157162"/>
              <a:gd name="connsiteX6" fmla="*/ 88194 w 157162"/>
              <a:gd name="connsiteY6" fmla="*/ 102114 h 157162"/>
              <a:gd name="connsiteX7" fmla="*/ 96843 w 157162"/>
              <a:gd name="connsiteY7" fmla="*/ 105634 h 157162"/>
              <a:gd name="connsiteX8" fmla="*/ 100819 w 157162"/>
              <a:gd name="connsiteY8" fmla="*/ 101040 h 157162"/>
              <a:gd name="connsiteX9" fmla="*/ 111931 w 157162"/>
              <a:gd name="connsiteY9" fmla="*/ 91951 h 157162"/>
              <a:gd name="connsiteX10" fmla="*/ 152107 w 157162"/>
              <a:gd name="connsiteY10" fmla="*/ 113157 h 157162"/>
              <a:gd name="connsiteX11" fmla="*/ 157162 w 157162"/>
              <a:gd name="connsiteY11" fmla="*/ 122063 h 157162"/>
              <a:gd name="connsiteX12" fmla="*/ 117762 w 157162"/>
              <a:gd name="connsiteY12" fmla="*/ 157162 h 157162"/>
              <a:gd name="connsiteX13" fmla="*/ 41847 w 157162"/>
              <a:gd name="connsiteY13" fmla="*/ 115362 h 157162"/>
              <a:gd name="connsiteX14" fmla="*/ 0 w 157162"/>
              <a:gd name="connsiteY14" fmla="*/ 39401 h 157162"/>
              <a:gd name="connsiteX15" fmla="*/ 35100 w 157162"/>
              <a:gd name="connsiteY15" fmla="*/ 0 h 157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7162" h="157162">
                <a:moveTo>
                  <a:pt x="35100" y="0"/>
                </a:moveTo>
                <a:cubicBezTo>
                  <a:pt x="38689" y="268"/>
                  <a:pt x="41968" y="2133"/>
                  <a:pt x="44032" y="5082"/>
                </a:cubicBezTo>
                <a:cubicBezTo>
                  <a:pt x="44267" y="5365"/>
                  <a:pt x="66731" y="36766"/>
                  <a:pt x="65248" y="45252"/>
                </a:cubicBezTo>
                <a:cubicBezTo>
                  <a:pt x="64526" y="49349"/>
                  <a:pt x="61733" y="51686"/>
                  <a:pt x="56180" y="56348"/>
                </a:cubicBezTo>
                <a:cubicBezTo>
                  <a:pt x="55258" y="57123"/>
                  <a:pt x="53100" y="58936"/>
                  <a:pt x="51560" y="60350"/>
                </a:cubicBezTo>
                <a:cubicBezTo>
                  <a:pt x="52525" y="63314"/>
                  <a:pt x="53702" y="66204"/>
                  <a:pt x="55080" y="69000"/>
                </a:cubicBezTo>
                <a:cubicBezTo>
                  <a:pt x="62105" y="83430"/>
                  <a:pt x="73764" y="95088"/>
                  <a:pt x="88194" y="102114"/>
                </a:cubicBezTo>
                <a:cubicBezTo>
                  <a:pt x="90990" y="103491"/>
                  <a:pt x="93880" y="104668"/>
                  <a:pt x="96843" y="105634"/>
                </a:cubicBezTo>
                <a:cubicBezTo>
                  <a:pt x="98252" y="104099"/>
                  <a:pt x="100065" y="101941"/>
                  <a:pt x="100819" y="101040"/>
                </a:cubicBezTo>
                <a:cubicBezTo>
                  <a:pt x="105508" y="95460"/>
                  <a:pt x="107845" y="92673"/>
                  <a:pt x="111931" y="91951"/>
                </a:cubicBezTo>
                <a:cubicBezTo>
                  <a:pt x="120491" y="90337"/>
                  <a:pt x="151677" y="112816"/>
                  <a:pt x="152107" y="113157"/>
                </a:cubicBezTo>
                <a:cubicBezTo>
                  <a:pt x="155042" y="115217"/>
                  <a:pt x="156897" y="118486"/>
                  <a:pt x="157162" y="122063"/>
                </a:cubicBezTo>
                <a:cubicBezTo>
                  <a:pt x="157162" y="131168"/>
                  <a:pt x="123446" y="157162"/>
                  <a:pt x="117762" y="157162"/>
                </a:cubicBezTo>
                <a:cubicBezTo>
                  <a:pt x="117432" y="157162"/>
                  <a:pt x="83888" y="156686"/>
                  <a:pt x="41847" y="115362"/>
                </a:cubicBezTo>
                <a:cubicBezTo>
                  <a:pt x="477" y="73280"/>
                  <a:pt x="0" y="39731"/>
                  <a:pt x="0" y="39401"/>
                </a:cubicBezTo>
                <a:cubicBezTo>
                  <a:pt x="0" y="33722"/>
                  <a:pt x="25995" y="0"/>
                  <a:pt x="35100" y="0"/>
                </a:cubicBezTo>
                <a:close/>
              </a:path>
            </a:pathLst>
          </a:custGeom>
          <a:solidFill>
            <a:schemeClr val="accent3"/>
          </a:solidFill>
        </p:spPr>
        <p:txBody>
          <a:bodyPr wrap="square">
            <a:noAutofit/>
          </a:bodyPr>
          <a:lstStyle>
            <a:lvl1pPr marL="0" indent="0" algn="l" defTabSz="914400" rtl="0" eaLnBrk="1" latinLnBrk="0" hangingPunct="1">
              <a:lnSpc>
                <a:spcPct val="90000"/>
              </a:lnSpc>
              <a:spcBef>
                <a:spcPts val="600"/>
              </a:spcBef>
              <a:spcAft>
                <a:spcPts val="600"/>
              </a:spcAft>
              <a:buClr>
                <a:schemeClr val="accent4"/>
              </a:buClr>
              <a:buSzPct val="100000"/>
              <a:buFontTx/>
              <a:buNone/>
              <a:defRPr sz="100" kern="1200">
                <a:solidFill>
                  <a:schemeClr val="tx2">
                    <a:lumMod val="75000"/>
                    <a:alpha val="0"/>
                  </a:schemeClr>
                </a:solidFill>
                <a:latin typeface="+mn-lt"/>
                <a:ea typeface="+mn-ea"/>
                <a:cs typeface="+mn-cs"/>
              </a:defRPr>
            </a:lvl1pPr>
            <a:lvl2pPr marL="0" indent="0" algn="l" defTabSz="914400" rtl="0" eaLnBrk="1" latinLnBrk="0" hangingPunct="1">
              <a:lnSpc>
                <a:spcPct val="90000"/>
              </a:lnSpc>
              <a:spcBef>
                <a:spcPts val="600"/>
              </a:spcBef>
              <a:spcAft>
                <a:spcPts val="600"/>
              </a:spcAft>
              <a:buClr>
                <a:schemeClr val="tx2"/>
              </a:buClr>
              <a:buFont typeface="Aptos" panose="020B0004020202020204" pitchFamily="34" charset="0"/>
              <a:buNone/>
              <a:tabLst/>
              <a:defRPr sz="1600" kern="1200">
                <a:solidFill>
                  <a:schemeClr val="tx1"/>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tx2"/>
              </a:buClr>
              <a:buFontTx/>
              <a:buNone/>
              <a:defRPr sz="2000" b="1" kern="1200">
                <a:solidFill>
                  <a:schemeClr val="accent3"/>
                </a:solidFill>
                <a:latin typeface="+mj-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2"/>
                </a:solidFill>
                <a:latin typeface="+mj-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4"/>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5"/>
                </a:solidFill>
                <a:latin typeface="+mj-lt"/>
                <a:ea typeface="+mn-ea"/>
                <a:cs typeface="+mn-cs"/>
              </a:defRPr>
            </a:lvl6pPr>
            <a:lvl7pPr marL="0" indent="0" algn="l" defTabSz="914400" rtl="0" eaLnBrk="1" latinLnBrk="0" hangingPunct="1">
              <a:lnSpc>
                <a:spcPct val="90000"/>
              </a:lnSpc>
              <a:spcBef>
                <a:spcPts val="600"/>
              </a:spcBef>
              <a:spcAft>
                <a:spcPts val="600"/>
              </a:spcAft>
              <a:buClr>
                <a:schemeClr val="tx2"/>
              </a:buClr>
              <a:buFontTx/>
              <a:buNone/>
              <a:tabLst/>
              <a:defRPr sz="1400" b="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Clr>
                <a:schemeClr val="tx2"/>
              </a:buClr>
              <a:buFontTx/>
              <a:buNone/>
              <a:defRPr sz="1800" b="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tx2"/>
              </a:buClr>
              <a:buFontTx/>
              <a:buNone/>
              <a:tabLst/>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E7303A"/>
              </a:buClr>
              <a:buSzPct val="100000"/>
              <a:buFontTx/>
              <a:buNone/>
              <a:tabLst/>
              <a:defRPr/>
            </a:pPr>
            <a:r>
              <a:rPr kumimoji="0" lang="en-GB" sz="100" b="0" i="0" u="none" strike="noStrike" kern="1200" cap="none" spc="0" normalizeH="0" baseline="0" noProof="0">
                <a:ln>
                  <a:noFill/>
                </a:ln>
                <a:solidFill>
                  <a:srgbClr val="070809">
                    <a:lumMod val="75000"/>
                    <a:alpha val="0"/>
                  </a:srgbClr>
                </a:solidFill>
                <a:effectLst/>
                <a:uLnTx/>
                <a:uFillTx/>
                <a:latin typeface="Aptos" panose="020B0004020202020204" pitchFamily="34" charset="0"/>
                <a:ea typeface="+mn-ea"/>
                <a:cs typeface="+mn-cs"/>
              </a:rPr>
              <a:t> </a:t>
            </a:r>
          </a:p>
        </p:txBody>
      </p:sp>
      <p:sp>
        <p:nvSpPr>
          <p:cNvPr id="12" name="Tijdelijke aanduiding voor tekst 128">
            <a:extLst>
              <a:ext uri="{FF2B5EF4-FFF2-40B4-BE49-F238E27FC236}">
                <a16:creationId xmlns:a16="http://schemas.microsoft.com/office/drawing/2014/main" id="{A47B7B12-DF28-1516-F7E1-E08FF220FB06}"/>
              </a:ext>
            </a:extLst>
          </p:cNvPr>
          <p:cNvSpPr txBox="1">
            <a:spLocks/>
          </p:cNvSpPr>
          <p:nvPr/>
        </p:nvSpPr>
        <p:spPr>
          <a:xfrm>
            <a:off x="8738564" y="4203269"/>
            <a:ext cx="2465389" cy="276874"/>
          </a:xfrm>
          <a:prstGeom prst="rect">
            <a:avLst/>
          </a:prstGeom>
        </p:spPr>
        <p:txBody>
          <a:bodyPr lIns="0" tIns="0" rIns="0" bIns="0" anchor="ctr"/>
          <a:lstStyle>
            <a:lvl1pPr marL="0" indent="0" algn="l" defTabSz="914400" rtl="0" eaLnBrk="1" latinLnBrk="0" hangingPunct="1">
              <a:lnSpc>
                <a:spcPct val="90000"/>
              </a:lnSpc>
              <a:spcBef>
                <a:spcPts val="0"/>
              </a:spcBef>
              <a:spcAft>
                <a:spcPts val="0"/>
              </a:spcAft>
              <a:buClr>
                <a:schemeClr val="accent4"/>
              </a:buClr>
              <a:buSzPct val="100000"/>
              <a:buFontTx/>
              <a:buNone/>
              <a:defRPr sz="1000" kern="1200">
                <a:solidFill>
                  <a:schemeClr val="tx1"/>
                </a:solidFill>
                <a:latin typeface="+mn-lt"/>
                <a:ea typeface="+mn-ea"/>
                <a:cs typeface="+mn-cs"/>
              </a:defRPr>
            </a:lvl1pPr>
            <a:lvl2pPr marL="0" indent="0" algn="l" defTabSz="914400" rtl="0" eaLnBrk="1" latinLnBrk="0" hangingPunct="1">
              <a:lnSpc>
                <a:spcPct val="90000"/>
              </a:lnSpc>
              <a:spcBef>
                <a:spcPts val="600"/>
              </a:spcBef>
              <a:spcAft>
                <a:spcPts val="600"/>
              </a:spcAft>
              <a:buClr>
                <a:schemeClr val="tx2"/>
              </a:buClr>
              <a:buFont typeface="Aptos" panose="020B0004020202020204" pitchFamily="34" charset="0"/>
              <a:buNone/>
              <a:tabLst/>
              <a:defRPr sz="1600" kern="1200">
                <a:solidFill>
                  <a:schemeClr val="tx1"/>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tx2"/>
              </a:buClr>
              <a:buFontTx/>
              <a:buNone/>
              <a:defRPr sz="2000" b="1" kern="1200">
                <a:solidFill>
                  <a:schemeClr val="accent3"/>
                </a:solidFill>
                <a:latin typeface="+mj-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2"/>
                </a:solidFill>
                <a:latin typeface="+mj-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4"/>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5"/>
                </a:solidFill>
                <a:latin typeface="+mj-lt"/>
                <a:ea typeface="+mn-ea"/>
                <a:cs typeface="+mn-cs"/>
              </a:defRPr>
            </a:lvl6pPr>
            <a:lvl7pPr marL="0" indent="0" algn="l" defTabSz="914400" rtl="0" eaLnBrk="1" latinLnBrk="0" hangingPunct="1">
              <a:lnSpc>
                <a:spcPct val="90000"/>
              </a:lnSpc>
              <a:spcBef>
                <a:spcPts val="600"/>
              </a:spcBef>
              <a:spcAft>
                <a:spcPts val="600"/>
              </a:spcAft>
              <a:buClr>
                <a:schemeClr val="tx2"/>
              </a:buClr>
              <a:buFontTx/>
              <a:buNone/>
              <a:tabLst/>
              <a:defRPr sz="1400" b="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Clr>
                <a:schemeClr val="tx2"/>
              </a:buClr>
              <a:buFontTx/>
              <a:buNone/>
              <a:defRPr sz="1800" b="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tx2"/>
              </a:buClr>
              <a:buFontTx/>
              <a:buNone/>
              <a:tabLst/>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E7303A"/>
              </a:buClr>
              <a:buSzPct val="100000"/>
              <a:buFontTx/>
              <a:buNone/>
              <a:tabLst/>
              <a:defRPr/>
            </a:pPr>
            <a:r>
              <a:rPr kumimoji="0" lang="en-GB" sz="1100" b="0" i="0" u="none" strike="noStrike" kern="1200" cap="none" spc="0" normalizeH="0" baseline="0" noProof="0">
                <a:ln>
                  <a:noFill/>
                </a:ln>
                <a:solidFill>
                  <a:prstClr val="black"/>
                </a:solidFill>
                <a:effectLst/>
                <a:uLnTx/>
                <a:uFillTx/>
                <a:latin typeface="+mj-lt"/>
                <a:ea typeface="+mn-ea"/>
                <a:cs typeface="+mn-cs"/>
              </a:rPr>
              <a:t>Address </a:t>
            </a:r>
          </a:p>
        </p:txBody>
      </p:sp>
      <p:sp>
        <p:nvSpPr>
          <p:cNvPr id="13" name="Tijdelijke aanduiding voor tekst 128">
            <a:extLst>
              <a:ext uri="{FF2B5EF4-FFF2-40B4-BE49-F238E27FC236}">
                <a16:creationId xmlns:a16="http://schemas.microsoft.com/office/drawing/2014/main" id="{575147BC-8E12-ADC1-6274-B55FAFFC7B27}"/>
              </a:ext>
            </a:extLst>
          </p:cNvPr>
          <p:cNvSpPr txBox="1">
            <a:spLocks/>
          </p:cNvSpPr>
          <p:nvPr/>
        </p:nvSpPr>
        <p:spPr>
          <a:xfrm>
            <a:off x="8738564" y="4644594"/>
            <a:ext cx="2465389" cy="276874"/>
          </a:xfrm>
          <a:prstGeom prst="rect">
            <a:avLst/>
          </a:prstGeom>
        </p:spPr>
        <p:txBody>
          <a:bodyPr lIns="0" tIns="0" rIns="0" bIns="0" anchor="ctr"/>
          <a:lstStyle>
            <a:lvl1pPr marL="0" indent="0" algn="l" defTabSz="914400" rtl="0" eaLnBrk="1" latinLnBrk="0" hangingPunct="1">
              <a:lnSpc>
                <a:spcPct val="90000"/>
              </a:lnSpc>
              <a:spcBef>
                <a:spcPts val="0"/>
              </a:spcBef>
              <a:spcAft>
                <a:spcPts val="0"/>
              </a:spcAft>
              <a:buClr>
                <a:schemeClr val="accent4"/>
              </a:buClr>
              <a:buSzPct val="100000"/>
              <a:buFontTx/>
              <a:buNone/>
              <a:defRPr sz="1000" kern="1200">
                <a:solidFill>
                  <a:schemeClr val="tx1"/>
                </a:solidFill>
                <a:latin typeface="+mn-lt"/>
                <a:ea typeface="+mn-ea"/>
                <a:cs typeface="+mn-cs"/>
              </a:defRPr>
            </a:lvl1pPr>
            <a:lvl2pPr marL="0" indent="0" algn="l" defTabSz="914400" rtl="0" eaLnBrk="1" latinLnBrk="0" hangingPunct="1">
              <a:lnSpc>
                <a:spcPct val="90000"/>
              </a:lnSpc>
              <a:spcBef>
                <a:spcPts val="600"/>
              </a:spcBef>
              <a:spcAft>
                <a:spcPts val="600"/>
              </a:spcAft>
              <a:buClr>
                <a:schemeClr val="tx2"/>
              </a:buClr>
              <a:buFont typeface="Aptos" panose="020B0004020202020204" pitchFamily="34" charset="0"/>
              <a:buNone/>
              <a:tabLst/>
              <a:defRPr sz="1600" kern="1200">
                <a:solidFill>
                  <a:schemeClr val="tx1"/>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tx2"/>
              </a:buClr>
              <a:buFontTx/>
              <a:buNone/>
              <a:defRPr sz="2000" b="1" kern="1200">
                <a:solidFill>
                  <a:schemeClr val="accent3"/>
                </a:solidFill>
                <a:latin typeface="+mj-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2"/>
                </a:solidFill>
                <a:latin typeface="+mj-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4"/>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5"/>
                </a:solidFill>
                <a:latin typeface="+mj-lt"/>
                <a:ea typeface="+mn-ea"/>
                <a:cs typeface="+mn-cs"/>
              </a:defRPr>
            </a:lvl6pPr>
            <a:lvl7pPr marL="0" indent="0" algn="l" defTabSz="914400" rtl="0" eaLnBrk="1" latinLnBrk="0" hangingPunct="1">
              <a:lnSpc>
                <a:spcPct val="90000"/>
              </a:lnSpc>
              <a:spcBef>
                <a:spcPts val="600"/>
              </a:spcBef>
              <a:spcAft>
                <a:spcPts val="600"/>
              </a:spcAft>
              <a:buClr>
                <a:schemeClr val="tx2"/>
              </a:buClr>
              <a:buFontTx/>
              <a:buNone/>
              <a:tabLst/>
              <a:defRPr sz="1400" b="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Clr>
                <a:schemeClr val="tx2"/>
              </a:buClr>
              <a:buFontTx/>
              <a:buNone/>
              <a:defRPr sz="1800" b="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tx2"/>
              </a:buClr>
              <a:buFontTx/>
              <a:buNone/>
              <a:tabLst/>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E7303A"/>
              </a:buClr>
              <a:buSzPct val="100000"/>
              <a:buFontTx/>
              <a:buNone/>
              <a:tabLst/>
              <a:defRPr/>
            </a:pPr>
            <a:r>
              <a:rPr kumimoji="0" lang="en-GB" sz="1100" b="0" i="0" u="none" strike="noStrike" kern="1200" cap="none" spc="0" normalizeH="0" baseline="0" noProof="0">
                <a:ln>
                  <a:noFill/>
                </a:ln>
                <a:solidFill>
                  <a:prstClr val="black"/>
                </a:solidFill>
                <a:effectLst/>
                <a:uLnTx/>
                <a:uFillTx/>
                <a:latin typeface="+mj-lt"/>
                <a:ea typeface="+mn-ea"/>
                <a:cs typeface="+mn-cs"/>
              </a:rPr>
              <a:t>Mail address </a:t>
            </a:r>
          </a:p>
        </p:txBody>
      </p:sp>
      <p:sp>
        <p:nvSpPr>
          <p:cNvPr id="14" name="Tijdelijke aanduiding voor tekst 128">
            <a:extLst>
              <a:ext uri="{FF2B5EF4-FFF2-40B4-BE49-F238E27FC236}">
                <a16:creationId xmlns:a16="http://schemas.microsoft.com/office/drawing/2014/main" id="{1200E093-A462-3880-42B9-EE6E4D31C292}"/>
              </a:ext>
            </a:extLst>
          </p:cNvPr>
          <p:cNvSpPr txBox="1">
            <a:spLocks/>
          </p:cNvSpPr>
          <p:nvPr/>
        </p:nvSpPr>
        <p:spPr>
          <a:xfrm>
            <a:off x="8738564" y="5085919"/>
            <a:ext cx="2465389" cy="276874"/>
          </a:xfrm>
          <a:prstGeom prst="rect">
            <a:avLst/>
          </a:prstGeom>
        </p:spPr>
        <p:txBody>
          <a:bodyPr lIns="0" tIns="0" rIns="0" bIns="0" anchor="ctr"/>
          <a:lstStyle>
            <a:lvl1pPr marL="0" indent="0" algn="l" defTabSz="914400" rtl="0" eaLnBrk="1" latinLnBrk="0" hangingPunct="1">
              <a:lnSpc>
                <a:spcPct val="90000"/>
              </a:lnSpc>
              <a:spcBef>
                <a:spcPts val="0"/>
              </a:spcBef>
              <a:spcAft>
                <a:spcPts val="0"/>
              </a:spcAft>
              <a:buClr>
                <a:schemeClr val="accent4"/>
              </a:buClr>
              <a:buSzPct val="100000"/>
              <a:buFontTx/>
              <a:buNone/>
              <a:defRPr sz="1000" kern="1200">
                <a:solidFill>
                  <a:schemeClr val="tx1"/>
                </a:solidFill>
                <a:latin typeface="+mn-lt"/>
                <a:ea typeface="+mn-ea"/>
                <a:cs typeface="+mn-cs"/>
              </a:defRPr>
            </a:lvl1pPr>
            <a:lvl2pPr marL="0" indent="0" algn="l" defTabSz="914400" rtl="0" eaLnBrk="1" latinLnBrk="0" hangingPunct="1">
              <a:lnSpc>
                <a:spcPct val="90000"/>
              </a:lnSpc>
              <a:spcBef>
                <a:spcPts val="600"/>
              </a:spcBef>
              <a:spcAft>
                <a:spcPts val="600"/>
              </a:spcAft>
              <a:buClr>
                <a:schemeClr val="tx2"/>
              </a:buClr>
              <a:buFont typeface="Aptos" panose="020B0004020202020204" pitchFamily="34" charset="0"/>
              <a:buNone/>
              <a:tabLst/>
              <a:defRPr sz="1600" kern="1200">
                <a:solidFill>
                  <a:schemeClr val="tx1"/>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tx2"/>
              </a:buClr>
              <a:buFontTx/>
              <a:buNone/>
              <a:defRPr sz="2000" b="1" kern="1200">
                <a:solidFill>
                  <a:schemeClr val="accent3"/>
                </a:solidFill>
                <a:latin typeface="+mj-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2"/>
                </a:solidFill>
                <a:latin typeface="+mj-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4"/>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5"/>
                </a:solidFill>
                <a:latin typeface="+mj-lt"/>
                <a:ea typeface="+mn-ea"/>
                <a:cs typeface="+mn-cs"/>
              </a:defRPr>
            </a:lvl6pPr>
            <a:lvl7pPr marL="0" indent="0" algn="l" defTabSz="914400" rtl="0" eaLnBrk="1" latinLnBrk="0" hangingPunct="1">
              <a:lnSpc>
                <a:spcPct val="90000"/>
              </a:lnSpc>
              <a:spcBef>
                <a:spcPts val="600"/>
              </a:spcBef>
              <a:spcAft>
                <a:spcPts val="600"/>
              </a:spcAft>
              <a:buClr>
                <a:schemeClr val="tx2"/>
              </a:buClr>
              <a:buFontTx/>
              <a:buNone/>
              <a:tabLst/>
              <a:defRPr sz="1400" b="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Clr>
                <a:schemeClr val="tx2"/>
              </a:buClr>
              <a:buFontTx/>
              <a:buNone/>
              <a:defRPr sz="1800" b="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tx2"/>
              </a:buClr>
              <a:buFontTx/>
              <a:buNone/>
              <a:tabLst/>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E7303A"/>
              </a:buClr>
              <a:buSzPct val="100000"/>
              <a:buFontTx/>
              <a:buNone/>
              <a:tabLst/>
              <a:defRPr/>
            </a:pPr>
            <a:r>
              <a:rPr kumimoji="0" lang="en-GB" sz="1100" b="0" i="0" u="none" strike="noStrike" kern="1200" cap="none" spc="0" normalizeH="0" baseline="0" noProof="0">
                <a:ln>
                  <a:noFill/>
                </a:ln>
                <a:solidFill>
                  <a:prstClr val="black"/>
                </a:solidFill>
                <a:effectLst/>
                <a:uLnTx/>
                <a:uFillTx/>
                <a:latin typeface="+mj-lt"/>
                <a:ea typeface="+mn-ea"/>
                <a:cs typeface="+mn-cs"/>
              </a:rPr>
              <a:t>Phone number</a:t>
            </a:r>
          </a:p>
        </p:txBody>
      </p:sp>
      <p:sp>
        <p:nvSpPr>
          <p:cNvPr id="19" name="Tekstvak 18">
            <a:extLst>
              <a:ext uri="{FF2B5EF4-FFF2-40B4-BE49-F238E27FC236}">
                <a16:creationId xmlns:a16="http://schemas.microsoft.com/office/drawing/2014/main" id="{D5E8E17B-3793-644B-3569-768E79298064}"/>
              </a:ext>
            </a:extLst>
          </p:cNvPr>
          <p:cNvSpPr txBox="1"/>
          <p:nvPr/>
        </p:nvSpPr>
        <p:spPr>
          <a:xfrm>
            <a:off x="8386851" y="3024395"/>
            <a:ext cx="2978774" cy="987374"/>
          </a:xfrm>
          <a:prstGeom prst="rect">
            <a:avLst/>
          </a:prstGeom>
          <a:noFill/>
        </p:spPr>
        <p:txBody>
          <a:bodyPr wrap="square" lIns="0" tIns="0" rIns="0" bIns="0" rtlCol="0">
            <a:noAutofit/>
          </a:bodyP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en-GB" sz="3200" b="1" i="0" u="none" strike="noStrike" kern="1200" cap="none" spc="0" normalizeH="0" baseline="0" noProof="0">
                <a:ln>
                  <a:noFill/>
                </a:ln>
                <a:solidFill>
                  <a:srgbClr val="070809"/>
                </a:solidFill>
                <a:effectLst/>
                <a:uLnTx/>
                <a:uFillTx/>
                <a:latin typeface="+mn-lt"/>
                <a:ea typeface="+mn-ea"/>
                <a:cs typeface="+mn-cs"/>
              </a:rPr>
              <a:t>Thank you for </a:t>
            </a:r>
            <a:br>
              <a:rPr kumimoji="0" lang="en-GB" sz="3200" b="1" i="0" u="none" strike="noStrike" kern="1200" cap="none" spc="0" normalizeH="0" baseline="0" noProof="0">
                <a:ln>
                  <a:noFill/>
                </a:ln>
                <a:solidFill>
                  <a:srgbClr val="070809"/>
                </a:solidFill>
                <a:effectLst/>
                <a:uLnTx/>
                <a:uFillTx/>
                <a:latin typeface="+mn-lt"/>
                <a:ea typeface="+mn-ea"/>
                <a:cs typeface="+mn-cs"/>
              </a:rPr>
            </a:br>
            <a:r>
              <a:rPr kumimoji="0" lang="en-GB" sz="3200" b="1" i="0" u="none" strike="noStrike" kern="1200" cap="none" spc="0" normalizeH="0" baseline="0" noProof="0">
                <a:ln>
                  <a:noFill/>
                </a:ln>
                <a:solidFill>
                  <a:srgbClr val="070809"/>
                </a:solidFill>
                <a:effectLst/>
                <a:uLnTx/>
                <a:uFillTx/>
                <a:latin typeface="+mn-lt"/>
                <a:ea typeface="+mn-ea"/>
                <a:cs typeface="+mn-cs"/>
              </a:rPr>
              <a:t>your attention!</a:t>
            </a:r>
          </a:p>
        </p:txBody>
      </p:sp>
    </p:spTree>
    <p:extLst>
      <p:ext uri="{BB962C8B-B14F-4D97-AF65-F5344CB8AC3E}">
        <p14:creationId xmlns:p14="http://schemas.microsoft.com/office/powerpoint/2010/main" val="228983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491492-8BF1-C073-FA27-F702CE6E3343}"/>
            </a:ext>
          </a:extLst>
        </p:cNvPr>
        <p:cNvGrpSpPr/>
        <p:nvPr/>
      </p:nvGrpSpPr>
      <p:grpSpPr>
        <a:xfrm>
          <a:off x="0" y="0"/>
          <a:ext cx="0" cy="0"/>
          <a:chOff x="0" y="0"/>
          <a:chExt cx="0" cy="0"/>
        </a:xfrm>
      </p:grpSpPr>
      <p:pic>
        <p:nvPicPr>
          <p:cNvPr id="28" name="Tijdelijke aanduiding voor afbeelding 162" descr="Afbeelding met persoon, vrouw, dame&#10;&#10;Automatisch gegenereerde beschrijving">
            <a:extLst>
              <a:ext uri="{FF2B5EF4-FFF2-40B4-BE49-F238E27FC236}">
                <a16:creationId xmlns:a16="http://schemas.microsoft.com/office/drawing/2014/main" id="{F0BC9DBF-8E60-3174-D6F7-0725FE3C3B81}"/>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1" r="1"/>
          <a:stretch/>
        </p:blipFill>
        <p:spPr>
          <a:xfrm>
            <a:off x="193675" y="207963"/>
            <a:ext cx="11804650" cy="6442075"/>
          </a:xfrm>
        </p:spPr>
      </p:pic>
      <p:sp>
        <p:nvSpPr>
          <p:cNvPr id="3" name="Tijdelijke aanduiding voor tekst 2">
            <a:extLst>
              <a:ext uri="{FF2B5EF4-FFF2-40B4-BE49-F238E27FC236}">
                <a16:creationId xmlns:a16="http://schemas.microsoft.com/office/drawing/2014/main" id="{DCDA579F-9318-99C3-301E-2AE144CFF745}"/>
              </a:ext>
            </a:extLst>
          </p:cNvPr>
          <p:cNvSpPr>
            <a:spLocks noGrp="1"/>
          </p:cNvSpPr>
          <p:nvPr>
            <p:ph type="body" sz="quarter" idx="42"/>
          </p:nvPr>
        </p:nvSpPr>
        <p:spPr/>
        <p:txBody>
          <a:bodyPr/>
          <a:lstStyle/>
          <a:p>
            <a:r>
              <a:rPr lang="nl-NL"/>
              <a:t> </a:t>
            </a:r>
          </a:p>
        </p:txBody>
      </p:sp>
      <p:sp>
        <p:nvSpPr>
          <p:cNvPr id="4" name="Tijdelijke aanduiding voor tekst 3">
            <a:extLst>
              <a:ext uri="{FF2B5EF4-FFF2-40B4-BE49-F238E27FC236}">
                <a16:creationId xmlns:a16="http://schemas.microsoft.com/office/drawing/2014/main" id="{1C0AA02F-8C0C-7166-FD0A-041674316B9C}"/>
              </a:ext>
            </a:extLst>
          </p:cNvPr>
          <p:cNvSpPr>
            <a:spLocks noGrp="1"/>
          </p:cNvSpPr>
          <p:nvPr>
            <p:ph type="body" sz="quarter" idx="18"/>
          </p:nvPr>
        </p:nvSpPr>
        <p:spPr/>
        <p:txBody>
          <a:bodyPr/>
          <a:lstStyle/>
          <a:p>
            <a:r>
              <a:rPr lang="nl-NL"/>
              <a:t> </a:t>
            </a:r>
          </a:p>
        </p:txBody>
      </p:sp>
      <p:sp>
        <p:nvSpPr>
          <p:cNvPr id="5" name="Tijdelijke aanduiding voor tekst 4">
            <a:extLst>
              <a:ext uri="{FF2B5EF4-FFF2-40B4-BE49-F238E27FC236}">
                <a16:creationId xmlns:a16="http://schemas.microsoft.com/office/drawing/2014/main" id="{50FC298B-A1EA-EDFF-1AD3-7D8120B1F573}"/>
              </a:ext>
            </a:extLst>
          </p:cNvPr>
          <p:cNvSpPr>
            <a:spLocks noGrp="1"/>
          </p:cNvSpPr>
          <p:nvPr>
            <p:ph type="body" sz="quarter" idx="15"/>
          </p:nvPr>
        </p:nvSpPr>
        <p:spPr/>
        <p:txBody>
          <a:bodyPr/>
          <a:lstStyle/>
          <a:p>
            <a:r>
              <a:rPr lang="nl-NL"/>
              <a:t> </a:t>
            </a:r>
          </a:p>
        </p:txBody>
      </p:sp>
      <p:sp>
        <p:nvSpPr>
          <p:cNvPr id="6" name="Tijdelijke aanduiding voor tekst 5">
            <a:extLst>
              <a:ext uri="{FF2B5EF4-FFF2-40B4-BE49-F238E27FC236}">
                <a16:creationId xmlns:a16="http://schemas.microsoft.com/office/drawing/2014/main" id="{19D56E67-A2F5-B621-0857-BD6217A3E1C4}"/>
              </a:ext>
            </a:extLst>
          </p:cNvPr>
          <p:cNvSpPr>
            <a:spLocks noGrp="1"/>
          </p:cNvSpPr>
          <p:nvPr>
            <p:ph type="body" sz="quarter" idx="16"/>
          </p:nvPr>
        </p:nvSpPr>
        <p:spPr/>
        <p:txBody>
          <a:bodyPr/>
          <a:lstStyle/>
          <a:p>
            <a:r>
              <a:rPr lang="nl-NL"/>
              <a:t> </a:t>
            </a:r>
          </a:p>
        </p:txBody>
      </p:sp>
      <p:sp>
        <p:nvSpPr>
          <p:cNvPr id="7" name="Tijdelijke aanduiding voor tekst 6">
            <a:extLst>
              <a:ext uri="{FF2B5EF4-FFF2-40B4-BE49-F238E27FC236}">
                <a16:creationId xmlns:a16="http://schemas.microsoft.com/office/drawing/2014/main" id="{08176491-4E04-B861-BDAC-A2D8ECC1BD27}"/>
              </a:ext>
            </a:extLst>
          </p:cNvPr>
          <p:cNvSpPr>
            <a:spLocks noGrp="1"/>
          </p:cNvSpPr>
          <p:nvPr>
            <p:ph type="body" sz="quarter" idx="17"/>
          </p:nvPr>
        </p:nvSpPr>
        <p:spPr/>
        <p:txBody>
          <a:bodyPr/>
          <a:lstStyle/>
          <a:p>
            <a:r>
              <a:rPr lang="nl-NL"/>
              <a:t> </a:t>
            </a:r>
          </a:p>
        </p:txBody>
      </p:sp>
      <p:sp>
        <p:nvSpPr>
          <p:cNvPr id="8" name="Tijdelijke aanduiding voor tekst 7">
            <a:extLst>
              <a:ext uri="{FF2B5EF4-FFF2-40B4-BE49-F238E27FC236}">
                <a16:creationId xmlns:a16="http://schemas.microsoft.com/office/drawing/2014/main" id="{EF67C113-0BDE-8DF7-36EE-6E7CEB5C1C83}"/>
              </a:ext>
            </a:extLst>
          </p:cNvPr>
          <p:cNvSpPr>
            <a:spLocks noGrp="1"/>
          </p:cNvSpPr>
          <p:nvPr>
            <p:ph type="body" sz="quarter" idx="48"/>
          </p:nvPr>
        </p:nvSpPr>
        <p:spPr/>
        <p:txBody>
          <a:bodyPr/>
          <a:lstStyle/>
          <a:p>
            <a:r>
              <a:rPr lang="nl-NL"/>
              <a:t> </a:t>
            </a:r>
          </a:p>
        </p:txBody>
      </p:sp>
      <p:sp>
        <p:nvSpPr>
          <p:cNvPr id="9" name="Titel 8">
            <a:extLst>
              <a:ext uri="{FF2B5EF4-FFF2-40B4-BE49-F238E27FC236}">
                <a16:creationId xmlns:a16="http://schemas.microsoft.com/office/drawing/2014/main" id="{0FF70871-B1A7-EC4F-0BED-03881704D191}"/>
              </a:ext>
            </a:extLst>
          </p:cNvPr>
          <p:cNvSpPr>
            <a:spLocks noGrp="1"/>
          </p:cNvSpPr>
          <p:nvPr>
            <p:ph type="title"/>
          </p:nvPr>
        </p:nvSpPr>
        <p:spPr/>
        <p:txBody>
          <a:bodyPr/>
          <a:lstStyle/>
          <a:p>
            <a:r>
              <a:rPr lang="en-GB"/>
              <a:t>Agenda</a:t>
            </a:r>
            <a:endParaRPr lang="nl-NL"/>
          </a:p>
        </p:txBody>
      </p:sp>
      <p:sp>
        <p:nvSpPr>
          <p:cNvPr id="10" name="Tijdelijke aanduiding voor tekst 97">
            <a:extLst>
              <a:ext uri="{FF2B5EF4-FFF2-40B4-BE49-F238E27FC236}">
                <a16:creationId xmlns:a16="http://schemas.microsoft.com/office/drawing/2014/main" id="{C170E395-754D-6E84-914B-2CF9D86398BC}"/>
              </a:ext>
            </a:extLst>
          </p:cNvPr>
          <p:cNvSpPr txBox="1">
            <a:spLocks/>
          </p:cNvSpPr>
          <p:nvPr/>
        </p:nvSpPr>
        <p:spPr>
          <a:xfrm>
            <a:off x="714375" y="1600070"/>
            <a:ext cx="3390102" cy="1991890"/>
          </a:xfrm>
          <a:prstGeom prst="roundRect">
            <a:avLst>
              <a:gd name="adj" fmla="val 6389"/>
            </a:avLst>
          </a:prstGeom>
          <a:solidFill>
            <a:schemeClr val="accent1"/>
          </a:solidFill>
          <a:effectLst>
            <a:outerShdw blurRad="127000" algn="ctr" rotWithShape="0">
              <a:srgbClr val="000000">
                <a:alpha val="20000"/>
              </a:srgbClr>
            </a:outerShdw>
          </a:effectLst>
        </p:spPr>
        <p:txBody>
          <a:bodyPr wrap="square">
            <a:noAutofit/>
          </a:bodyPr>
          <a:lstStyle>
            <a:lvl1pPr marL="0" indent="0" algn="l" defTabSz="719138" rtl="0" eaLnBrk="1" latinLnBrk="0" hangingPunct="1">
              <a:lnSpc>
                <a:spcPct val="100000"/>
              </a:lnSpc>
              <a:spcBef>
                <a:spcPts val="300"/>
              </a:spcBef>
              <a:spcAft>
                <a:spcPts val="600"/>
              </a:spcAft>
              <a:buClr>
                <a:schemeClr val="tx2"/>
              </a:buClr>
              <a:buSzPct val="100000"/>
              <a:buFont typeface="Aptos" panose="020B0004020202020204" pitchFamily="34" charset="0"/>
              <a:buNone/>
              <a:defRPr sz="100" kern="1200">
                <a:solidFill>
                  <a:schemeClr val="tx2">
                    <a:lumMod val="75000"/>
                    <a:alpha val="0"/>
                  </a:schemeClr>
                </a:solidFill>
                <a:latin typeface="+mn-lt"/>
                <a:ea typeface="+mn-ea"/>
                <a:cs typeface="+mn-cs"/>
              </a:defRPr>
            </a:lvl1pPr>
            <a:lvl2pPr marL="471488" indent="-254000" algn="l" defTabSz="719138" rtl="0" eaLnBrk="1" latinLnBrk="0" hangingPunct="1">
              <a:lnSpc>
                <a:spcPct val="100000"/>
              </a:lnSpc>
              <a:spcBef>
                <a:spcPts val="300"/>
              </a:spcBef>
              <a:spcAft>
                <a:spcPts val="600"/>
              </a:spcAft>
              <a:buClr>
                <a:schemeClr val="tx2"/>
              </a:buClr>
              <a:buSzPct val="100000"/>
              <a:buFont typeface="Aptos" panose="020B0004020202020204" pitchFamily="34" charset="0"/>
              <a:buChar char="•"/>
              <a:defRPr sz="1600" i="0" kern="1200">
                <a:solidFill>
                  <a:schemeClr val="tx2"/>
                </a:solidFill>
                <a:latin typeface="+mn-lt"/>
                <a:ea typeface="+mn-ea"/>
                <a:cs typeface="+mn-cs"/>
              </a:defRPr>
            </a:lvl2pPr>
            <a:lvl3pPr marL="0" indent="0" algn="l" defTabSz="719138" rtl="0" eaLnBrk="1" latinLnBrk="0" hangingPunct="1">
              <a:lnSpc>
                <a:spcPct val="100000"/>
              </a:lnSpc>
              <a:spcBef>
                <a:spcPts val="300"/>
              </a:spcBef>
              <a:spcAft>
                <a:spcPts val="600"/>
              </a:spcAft>
              <a:buClr>
                <a:srgbClr val="0070C0"/>
              </a:buClr>
              <a:buSzPct val="85000"/>
              <a:buFont typeface="Aptos" panose="020B0004020202020204" pitchFamily="34" charset="0"/>
              <a:buNone/>
              <a:defRPr sz="1600" i="0" kern="1200">
                <a:solidFill>
                  <a:schemeClr val="tx2"/>
                </a:solidFill>
                <a:latin typeface="+mn-lt"/>
                <a:ea typeface="+mn-ea"/>
                <a:cs typeface="+mn-cs"/>
              </a:defRPr>
            </a:lvl3pPr>
            <a:lvl4pPr marL="0" indent="0" algn="l" defTabSz="719138" rtl="0" eaLnBrk="1" latinLnBrk="0" hangingPunct="1">
              <a:lnSpc>
                <a:spcPct val="100000"/>
              </a:lnSpc>
              <a:spcBef>
                <a:spcPts val="300"/>
              </a:spcBef>
              <a:spcAft>
                <a:spcPts val="1200"/>
              </a:spcAft>
              <a:buFont typeface="Aptos" panose="020B0004020202020204" pitchFamily="34" charset="0"/>
              <a:buNone/>
              <a:defRPr sz="2000" b="0" kern="1200" cap="none" spc="0" baseline="0">
                <a:solidFill>
                  <a:schemeClr val="tx2"/>
                </a:solidFill>
                <a:latin typeface="+mj-lt"/>
                <a:ea typeface="+mn-ea"/>
                <a:cs typeface="+mn-cs"/>
              </a:defRPr>
            </a:lvl4pPr>
            <a:lvl5pPr marL="0" indent="0" algn="l" defTabSz="719138" rtl="0" eaLnBrk="1" latinLnBrk="0" hangingPunct="1">
              <a:lnSpc>
                <a:spcPct val="100000"/>
              </a:lnSpc>
              <a:spcBef>
                <a:spcPts val="300"/>
              </a:spcBef>
              <a:spcAft>
                <a:spcPts val="600"/>
              </a:spcAft>
              <a:buClr>
                <a:schemeClr val="tx2"/>
              </a:buClr>
              <a:buFont typeface="+mj-lt"/>
              <a:buNone/>
              <a:defRPr sz="1600" b="1" i="0" kern="1200">
                <a:solidFill>
                  <a:schemeClr val="tx2"/>
                </a:solidFill>
                <a:latin typeface="+mn-lt"/>
                <a:ea typeface="+mn-ea"/>
                <a:cs typeface="+mn-cs"/>
              </a:defRPr>
            </a:lvl5pPr>
            <a:lvl6pPr marL="222250" indent="-222250" algn="l" defTabSz="914400" rtl="0" eaLnBrk="1" latinLnBrk="0" hangingPunct="1">
              <a:lnSpc>
                <a:spcPct val="100000"/>
              </a:lnSpc>
              <a:spcBef>
                <a:spcPts val="300"/>
              </a:spcBef>
              <a:spcAft>
                <a:spcPts val="600"/>
              </a:spcAft>
              <a:buFont typeface="+mj-lt"/>
              <a:buAutoNum type="arabicPeriod"/>
              <a:defRPr sz="1600" b="0" i="0" kern="1200">
                <a:solidFill>
                  <a:schemeClr val="tx2"/>
                </a:solidFill>
                <a:latin typeface="+mn-lt"/>
                <a:ea typeface="+mn-ea"/>
                <a:cs typeface="+mn-cs"/>
              </a:defRPr>
            </a:lvl6pPr>
            <a:lvl7pPr marL="479425" indent="-261938" algn="l" defTabSz="914400" rtl="0" eaLnBrk="1" latinLnBrk="0" hangingPunct="1">
              <a:lnSpc>
                <a:spcPct val="100000"/>
              </a:lnSpc>
              <a:spcBef>
                <a:spcPts val="300"/>
              </a:spcBef>
              <a:spcAft>
                <a:spcPts val="600"/>
              </a:spcAft>
              <a:buFont typeface="+mj-lt"/>
              <a:buAutoNum type="alphaUcPeriod"/>
              <a:defRPr sz="1600" b="0" i="0" kern="1200">
                <a:solidFill>
                  <a:schemeClr val="tx2"/>
                </a:solidFill>
                <a:latin typeface="+mn-lt"/>
                <a:ea typeface="+mn-ea"/>
                <a:cs typeface="+mn-cs"/>
              </a:defRPr>
            </a:lvl7pPr>
            <a:lvl8pPr marL="0" indent="0" algn="l" defTabSz="914400" rtl="0" eaLnBrk="1" latinLnBrk="0" hangingPunct="1">
              <a:lnSpc>
                <a:spcPct val="90000"/>
              </a:lnSpc>
              <a:spcBef>
                <a:spcPts val="300"/>
              </a:spcBef>
              <a:spcAft>
                <a:spcPts val="600"/>
              </a:spcAft>
              <a:buFont typeface="Aptos" panose="020B0004020202020204" pitchFamily="34" charset="0"/>
              <a:buNone/>
              <a:defRPr sz="2800" i="1" kern="1200">
                <a:solidFill>
                  <a:schemeClr val="accent3"/>
                </a:solidFill>
                <a:latin typeface="+mj-lt"/>
                <a:ea typeface="+mn-ea"/>
                <a:cs typeface="+mn-cs"/>
              </a:defRPr>
            </a:lvl8pPr>
            <a:lvl9pPr marL="0" indent="0" algn="l" defTabSz="914400" rtl="0" eaLnBrk="1" latinLnBrk="0" hangingPunct="1">
              <a:lnSpc>
                <a:spcPct val="100000"/>
              </a:lnSpc>
              <a:spcBef>
                <a:spcPts val="300"/>
              </a:spcBef>
              <a:spcAft>
                <a:spcPts val="1200"/>
              </a:spcAft>
              <a:buFont typeface="Aptos" panose="020B0004020202020204" pitchFamily="34" charset="0"/>
              <a:buNone/>
              <a:defRPr sz="1200" b="0" kern="1200">
                <a:solidFill>
                  <a:schemeClr val="bg2">
                    <a:lumMod val="75000"/>
                  </a:schemeClr>
                </a:solidFill>
                <a:latin typeface="+mn-lt"/>
                <a:ea typeface="+mn-ea"/>
                <a:cs typeface="+mn-cs"/>
              </a:defRPr>
            </a:lvl9pPr>
          </a:lstStyle>
          <a:p>
            <a:pPr marL="0" marR="0" lvl="0" indent="0" algn="l" defTabSz="719138" rtl="0" eaLnBrk="1" fontAlgn="auto" latinLnBrk="0" hangingPunct="1">
              <a:lnSpc>
                <a:spcPct val="100000"/>
              </a:lnSpc>
              <a:spcBef>
                <a:spcPts val="300"/>
              </a:spcBef>
              <a:spcAft>
                <a:spcPts val="600"/>
              </a:spcAft>
              <a:buClr>
                <a:srgbClr val="070809"/>
              </a:buClr>
              <a:buSzPct val="100000"/>
              <a:buFont typeface="Aptos" panose="020B0004020202020204" pitchFamily="34" charset="0"/>
              <a:buNone/>
              <a:tabLst/>
              <a:defRPr/>
            </a:pPr>
            <a:r>
              <a:rPr kumimoji="0" lang="en-GB" sz="100" b="0" i="0" u="none" strike="noStrike" kern="1200" cap="none" spc="0" normalizeH="0" baseline="0" noProof="0">
                <a:ln>
                  <a:noFill/>
                </a:ln>
                <a:solidFill>
                  <a:srgbClr val="070809">
                    <a:lumMod val="75000"/>
                    <a:alpha val="0"/>
                  </a:srgbClr>
                </a:solidFill>
                <a:effectLst/>
                <a:uLnTx/>
                <a:uFillTx/>
                <a:latin typeface="Aptos" panose="020B0004020202020204" pitchFamily="34" charset="0"/>
                <a:ea typeface="+mn-ea"/>
                <a:cs typeface="+mn-cs"/>
              </a:rPr>
              <a:t> </a:t>
            </a:r>
          </a:p>
        </p:txBody>
      </p:sp>
      <p:sp>
        <p:nvSpPr>
          <p:cNvPr id="11" name="Tekstvak 10">
            <a:extLst>
              <a:ext uri="{FF2B5EF4-FFF2-40B4-BE49-F238E27FC236}">
                <a16:creationId xmlns:a16="http://schemas.microsoft.com/office/drawing/2014/main" id="{CDA3744E-1957-07B7-0E7D-FF885F789835}"/>
              </a:ext>
            </a:extLst>
          </p:cNvPr>
          <p:cNvSpPr txBox="1"/>
          <p:nvPr/>
        </p:nvSpPr>
        <p:spPr>
          <a:xfrm>
            <a:off x="1061003" y="3130785"/>
            <a:ext cx="2847634" cy="424317"/>
          </a:xfrm>
          <a:prstGeom prst="rect">
            <a:avLst/>
          </a:prstGeom>
          <a:noFill/>
        </p:spPr>
        <p:txBody>
          <a:bodyPr wrap="square" lIns="0" tIns="0" rIns="0" bIns="0" rtlCol="0" anchor="t">
            <a:noAutofit/>
          </a:bodyPr>
          <a:lstStyle/>
          <a:p>
            <a:pPr>
              <a:lnSpc>
                <a:spcPct val="80000"/>
              </a:lnSpc>
              <a:defRPr/>
            </a:pPr>
            <a:r>
              <a:rPr lang="en-GB" sz="2200">
                <a:solidFill>
                  <a:srgbClr val="FFFFFF"/>
                </a:solidFill>
              </a:rPr>
              <a:t>What is </a:t>
            </a:r>
            <a:r>
              <a:rPr lang="en-GB" sz="2200" err="1">
                <a:solidFill>
                  <a:srgbClr val="FFFFFF"/>
                </a:solidFill>
              </a:rPr>
              <a:t>euroteq</a:t>
            </a:r>
            <a:endParaRPr lang="nl-NL" err="1">
              <a:ea typeface="+mn-ea"/>
              <a:cs typeface="+mn-cs"/>
            </a:endParaRPr>
          </a:p>
        </p:txBody>
      </p:sp>
      <p:sp>
        <p:nvSpPr>
          <p:cNvPr id="12" name="Tekstvak 11">
            <a:extLst>
              <a:ext uri="{FF2B5EF4-FFF2-40B4-BE49-F238E27FC236}">
                <a16:creationId xmlns:a16="http://schemas.microsoft.com/office/drawing/2014/main" id="{D5B633C1-6599-928C-AC32-1D223167EB47}"/>
              </a:ext>
            </a:extLst>
          </p:cNvPr>
          <p:cNvSpPr txBox="1"/>
          <p:nvPr/>
        </p:nvSpPr>
        <p:spPr>
          <a:xfrm>
            <a:off x="1072558" y="2513057"/>
            <a:ext cx="1159683" cy="4243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a:ln>
                  <a:noFill/>
                </a:ln>
                <a:solidFill>
                  <a:srgbClr val="FFFFFF"/>
                </a:solidFill>
                <a:effectLst/>
                <a:uLnTx/>
                <a:uFillTx/>
                <a:latin typeface="+mj-lt"/>
                <a:ea typeface="+mn-ea"/>
                <a:cs typeface="+mn-cs"/>
              </a:rPr>
              <a:t>01</a:t>
            </a:r>
            <a:endParaRPr kumimoji="0" lang="en-GB" sz="6600" b="1" i="0" u="none" strike="noStrike" kern="1200" cap="none" spc="0" normalizeH="0" baseline="0" noProof="0">
              <a:ln>
                <a:noFill/>
              </a:ln>
              <a:solidFill>
                <a:srgbClr val="FFFFFF"/>
              </a:solidFill>
              <a:effectLst/>
              <a:uLnTx/>
              <a:uFillTx/>
              <a:latin typeface="+mj-lt"/>
              <a:ea typeface="+mn-ea"/>
              <a:cs typeface="+mn-cs"/>
            </a:endParaRPr>
          </a:p>
        </p:txBody>
      </p:sp>
      <p:sp>
        <p:nvSpPr>
          <p:cNvPr id="13" name="Tijdelijke aanduiding voor tekst 97">
            <a:extLst>
              <a:ext uri="{FF2B5EF4-FFF2-40B4-BE49-F238E27FC236}">
                <a16:creationId xmlns:a16="http://schemas.microsoft.com/office/drawing/2014/main" id="{DA0248B3-4B25-9D25-DFF1-B168A787BC6F}"/>
              </a:ext>
            </a:extLst>
          </p:cNvPr>
          <p:cNvSpPr txBox="1">
            <a:spLocks/>
          </p:cNvSpPr>
          <p:nvPr/>
        </p:nvSpPr>
        <p:spPr>
          <a:xfrm>
            <a:off x="4387694" y="1600070"/>
            <a:ext cx="3390102" cy="1991890"/>
          </a:xfrm>
          <a:prstGeom prst="roundRect">
            <a:avLst>
              <a:gd name="adj" fmla="val 6389"/>
            </a:avLst>
          </a:prstGeom>
          <a:solidFill>
            <a:schemeClr val="accent1"/>
          </a:solidFill>
          <a:effectLst>
            <a:outerShdw blurRad="127000" algn="ctr" rotWithShape="0">
              <a:srgbClr val="000000">
                <a:alpha val="20000"/>
              </a:srgbClr>
            </a:outerShdw>
          </a:effectLst>
        </p:spPr>
        <p:txBody>
          <a:bodyPr wrap="square">
            <a:noAutofit/>
          </a:bodyPr>
          <a:lstStyle>
            <a:lvl1pPr marL="0" indent="0" algn="l" defTabSz="719138" rtl="0" eaLnBrk="1" latinLnBrk="0" hangingPunct="1">
              <a:lnSpc>
                <a:spcPct val="100000"/>
              </a:lnSpc>
              <a:spcBef>
                <a:spcPts val="300"/>
              </a:spcBef>
              <a:spcAft>
                <a:spcPts val="600"/>
              </a:spcAft>
              <a:buClr>
                <a:schemeClr val="tx2"/>
              </a:buClr>
              <a:buSzPct val="100000"/>
              <a:buFont typeface="Aptos" panose="020B0004020202020204" pitchFamily="34" charset="0"/>
              <a:buNone/>
              <a:defRPr sz="100" kern="1200">
                <a:solidFill>
                  <a:schemeClr val="tx2">
                    <a:lumMod val="75000"/>
                    <a:alpha val="0"/>
                  </a:schemeClr>
                </a:solidFill>
                <a:latin typeface="+mn-lt"/>
                <a:ea typeface="+mn-ea"/>
                <a:cs typeface="+mn-cs"/>
              </a:defRPr>
            </a:lvl1pPr>
            <a:lvl2pPr marL="471488" indent="-254000" algn="l" defTabSz="719138" rtl="0" eaLnBrk="1" latinLnBrk="0" hangingPunct="1">
              <a:lnSpc>
                <a:spcPct val="100000"/>
              </a:lnSpc>
              <a:spcBef>
                <a:spcPts val="300"/>
              </a:spcBef>
              <a:spcAft>
                <a:spcPts val="600"/>
              </a:spcAft>
              <a:buClr>
                <a:schemeClr val="tx2"/>
              </a:buClr>
              <a:buSzPct val="100000"/>
              <a:buFont typeface="Aptos" panose="020B0004020202020204" pitchFamily="34" charset="0"/>
              <a:buChar char="•"/>
              <a:defRPr sz="1600" i="0" kern="1200">
                <a:solidFill>
                  <a:schemeClr val="tx2"/>
                </a:solidFill>
                <a:latin typeface="+mn-lt"/>
                <a:ea typeface="+mn-ea"/>
                <a:cs typeface="+mn-cs"/>
              </a:defRPr>
            </a:lvl2pPr>
            <a:lvl3pPr marL="0" indent="0" algn="l" defTabSz="719138" rtl="0" eaLnBrk="1" latinLnBrk="0" hangingPunct="1">
              <a:lnSpc>
                <a:spcPct val="100000"/>
              </a:lnSpc>
              <a:spcBef>
                <a:spcPts val="300"/>
              </a:spcBef>
              <a:spcAft>
                <a:spcPts val="600"/>
              </a:spcAft>
              <a:buClr>
                <a:srgbClr val="0070C0"/>
              </a:buClr>
              <a:buSzPct val="85000"/>
              <a:buFont typeface="Aptos" panose="020B0004020202020204" pitchFamily="34" charset="0"/>
              <a:buNone/>
              <a:defRPr sz="1600" i="0" kern="1200">
                <a:solidFill>
                  <a:schemeClr val="tx2"/>
                </a:solidFill>
                <a:latin typeface="+mn-lt"/>
                <a:ea typeface="+mn-ea"/>
                <a:cs typeface="+mn-cs"/>
              </a:defRPr>
            </a:lvl3pPr>
            <a:lvl4pPr marL="0" indent="0" algn="l" defTabSz="719138" rtl="0" eaLnBrk="1" latinLnBrk="0" hangingPunct="1">
              <a:lnSpc>
                <a:spcPct val="100000"/>
              </a:lnSpc>
              <a:spcBef>
                <a:spcPts val="300"/>
              </a:spcBef>
              <a:spcAft>
                <a:spcPts val="1200"/>
              </a:spcAft>
              <a:buFont typeface="Aptos" panose="020B0004020202020204" pitchFamily="34" charset="0"/>
              <a:buNone/>
              <a:defRPr sz="2000" b="0" kern="1200" cap="none" spc="0" baseline="0">
                <a:solidFill>
                  <a:schemeClr val="tx2"/>
                </a:solidFill>
                <a:latin typeface="+mj-lt"/>
                <a:ea typeface="+mn-ea"/>
                <a:cs typeface="+mn-cs"/>
              </a:defRPr>
            </a:lvl4pPr>
            <a:lvl5pPr marL="0" indent="0" algn="l" defTabSz="719138" rtl="0" eaLnBrk="1" latinLnBrk="0" hangingPunct="1">
              <a:lnSpc>
                <a:spcPct val="100000"/>
              </a:lnSpc>
              <a:spcBef>
                <a:spcPts val="300"/>
              </a:spcBef>
              <a:spcAft>
                <a:spcPts val="600"/>
              </a:spcAft>
              <a:buClr>
                <a:schemeClr val="tx2"/>
              </a:buClr>
              <a:buFont typeface="+mj-lt"/>
              <a:buNone/>
              <a:defRPr sz="1600" b="1" i="0" kern="1200">
                <a:solidFill>
                  <a:schemeClr val="tx2"/>
                </a:solidFill>
                <a:latin typeface="+mn-lt"/>
                <a:ea typeface="+mn-ea"/>
                <a:cs typeface="+mn-cs"/>
              </a:defRPr>
            </a:lvl5pPr>
            <a:lvl6pPr marL="222250" indent="-222250" algn="l" defTabSz="914400" rtl="0" eaLnBrk="1" latinLnBrk="0" hangingPunct="1">
              <a:lnSpc>
                <a:spcPct val="100000"/>
              </a:lnSpc>
              <a:spcBef>
                <a:spcPts val="300"/>
              </a:spcBef>
              <a:spcAft>
                <a:spcPts val="600"/>
              </a:spcAft>
              <a:buFont typeface="+mj-lt"/>
              <a:buAutoNum type="arabicPeriod"/>
              <a:defRPr sz="1600" b="0" i="0" kern="1200">
                <a:solidFill>
                  <a:schemeClr val="tx2"/>
                </a:solidFill>
                <a:latin typeface="+mn-lt"/>
                <a:ea typeface="+mn-ea"/>
                <a:cs typeface="+mn-cs"/>
              </a:defRPr>
            </a:lvl6pPr>
            <a:lvl7pPr marL="479425" indent="-261938" algn="l" defTabSz="914400" rtl="0" eaLnBrk="1" latinLnBrk="0" hangingPunct="1">
              <a:lnSpc>
                <a:spcPct val="100000"/>
              </a:lnSpc>
              <a:spcBef>
                <a:spcPts val="300"/>
              </a:spcBef>
              <a:spcAft>
                <a:spcPts val="600"/>
              </a:spcAft>
              <a:buFont typeface="+mj-lt"/>
              <a:buAutoNum type="alphaUcPeriod"/>
              <a:defRPr sz="1600" b="0" i="0" kern="1200">
                <a:solidFill>
                  <a:schemeClr val="tx2"/>
                </a:solidFill>
                <a:latin typeface="+mn-lt"/>
                <a:ea typeface="+mn-ea"/>
                <a:cs typeface="+mn-cs"/>
              </a:defRPr>
            </a:lvl7pPr>
            <a:lvl8pPr marL="0" indent="0" algn="l" defTabSz="914400" rtl="0" eaLnBrk="1" latinLnBrk="0" hangingPunct="1">
              <a:lnSpc>
                <a:spcPct val="90000"/>
              </a:lnSpc>
              <a:spcBef>
                <a:spcPts val="300"/>
              </a:spcBef>
              <a:spcAft>
                <a:spcPts val="600"/>
              </a:spcAft>
              <a:buFont typeface="Aptos" panose="020B0004020202020204" pitchFamily="34" charset="0"/>
              <a:buNone/>
              <a:defRPr sz="2800" i="1" kern="1200">
                <a:solidFill>
                  <a:schemeClr val="accent3"/>
                </a:solidFill>
                <a:latin typeface="+mj-lt"/>
                <a:ea typeface="+mn-ea"/>
                <a:cs typeface="+mn-cs"/>
              </a:defRPr>
            </a:lvl8pPr>
            <a:lvl9pPr marL="0" indent="0" algn="l" defTabSz="914400" rtl="0" eaLnBrk="1" latinLnBrk="0" hangingPunct="1">
              <a:lnSpc>
                <a:spcPct val="100000"/>
              </a:lnSpc>
              <a:spcBef>
                <a:spcPts val="300"/>
              </a:spcBef>
              <a:spcAft>
                <a:spcPts val="1200"/>
              </a:spcAft>
              <a:buFont typeface="Aptos" panose="020B0004020202020204" pitchFamily="34" charset="0"/>
              <a:buNone/>
              <a:defRPr sz="1200" b="0" kern="1200">
                <a:solidFill>
                  <a:schemeClr val="bg2">
                    <a:lumMod val="75000"/>
                  </a:schemeClr>
                </a:solidFill>
                <a:latin typeface="+mn-lt"/>
                <a:ea typeface="+mn-ea"/>
                <a:cs typeface="+mn-cs"/>
              </a:defRPr>
            </a:lvl9pPr>
          </a:lstStyle>
          <a:p>
            <a:pPr marL="0" marR="0" lvl="0" indent="0" algn="l" defTabSz="719138" rtl="0" eaLnBrk="1" fontAlgn="auto" latinLnBrk="0" hangingPunct="1">
              <a:lnSpc>
                <a:spcPct val="100000"/>
              </a:lnSpc>
              <a:spcBef>
                <a:spcPts val="300"/>
              </a:spcBef>
              <a:spcAft>
                <a:spcPts val="600"/>
              </a:spcAft>
              <a:buClr>
                <a:srgbClr val="070809"/>
              </a:buClr>
              <a:buSzPct val="100000"/>
              <a:buFont typeface="Aptos" panose="020B0004020202020204" pitchFamily="34" charset="0"/>
              <a:buNone/>
              <a:tabLst/>
              <a:defRPr/>
            </a:pPr>
            <a:r>
              <a:rPr kumimoji="0" lang="en-GB" sz="100" b="0" i="0" u="none" strike="noStrike" kern="1200" cap="none" spc="0" normalizeH="0" baseline="0" noProof="0">
                <a:ln>
                  <a:noFill/>
                </a:ln>
                <a:solidFill>
                  <a:srgbClr val="070809">
                    <a:lumMod val="75000"/>
                    <a:alpha val="0"/>
                  </a:srgbClr>
                </a:solidFill>
                <a:effectLst/>
                <a:uLnTx/>
                <a:uFillTx/>
                <a:latin typeface="Aptos" panose="020B0004020202020204" pitchFamily="34" charset="0"/>
                <a:ea typeface="+mn-ea"/>
                <a:cs typeface="+mn-cs"/>
              </a:rPr>
              <a:t> </a:t>
            </a:r>
          </a:p>
        </p:txBody>
      </p:sp>
      <p:sp>
        <p:nvSpPr>
          <p:cNvPr id="14" name="Tekstvak 13">
            <a:extLst>
              <a:ext uri="{FF2B5EF4-FFF2-40B4-BE49-F238E27FC236}">
                <a16:creationId xmlns:a16="http://schemas.microsoft.com/office/drawing/2014/main" id="{13A898FD-6036-F463-6A33-67894A3DC3A8}"/>
              </a:ext>
            </a:extLst>
          </p:cNvPr>
          <p:cNvSpPr txBox="1"/>
          <p:nvPr/>
        </p:nvSpPr>
        <p:spPr>
          <a:xfrm>
            <a:off x="4734322" y="3130785"/>
            <a:ext cx="2847634" cy="424317"/>
          </a:xfrm>
          <a:prstGeom prst="rect">
            <a:avLst/>
          </a:prstGeom>
          <a:noFill/>
        </p:spPr>
        <p:txBody>
          <a:bodyPr wrap="square" lIns="0" tIns="0" rIns="0" bIns="0" rtlCol="0" anchor="t">
            <a:noAutofit/>
          </a:bodyPr>
          <a:lstStyle/>
          <a:p>
            <a:pPr>
              <a:lnSpc>
                <a:spcPct val="80000"/>
              </a:lnSpc>
              <a:defRPr/>
            </a:pPr>
            <a:r>
              <a:rPr lang="en-GB" sz="2200">
                <a:solidFill>
                  <a:srgbClr val="FFFFFF"/>
                </a:solidFill>
              </a:rPr>
              <a:t>What is </a:t>
            </a:r>
            <a:r>
              <a:rPr lang="en-GB" sz="2200" err="1">
                <a:solidFill>
                  <a:srgbClr val="FFFFFF"/>
                </a:solidFill>
              </a:rPr>
              <a:t>eduXchange</a:t>
            </a:r>
          </a:p>
        </p:txBody>
      </p:sp>
      <p:sp>
        <p:nvSpPr>
          <p:cNvPr id="15" name="Tekstvak 14">
            <a:extLst>
              <a:ext uri="{FF2B5EF4-FFF2-40B4-BE49-F238E27FC236}">
                <a16:creationId xmlns:a16="http://schemas.microsoft.com/office/drawing/2014/main" id="{B27825F5-9A17-A9DD-519F-12CD225DE21B}"/>
              </a:ext>
            </a:extLst>
          </p:cNvPr>
          <p:cNvSpPr txBox="1"/>
          <p:nvPr/>
        </p:nvSpPr>
        <p:spPr>
          <a:xfrm>
            <a:off x="4745877" y="2513057"/>
            <a:ext cx="1159683" cy="4243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a:ln>
                  <a:noFill/>
                </a:ln>
                <a:solidFill>
                  <a:srgbClr val="FFFFFF"/>
                </a:solidFill>
                <a:effectLst/>
                <a:uLnTx/>
                <a:uFillTx/>
                <a:latin typeface="+mj-lt"/>
                <a:ea typeface="+mn-ea"/>
                <a:cs typeface="+mn-cs"/>
              </a:rPr>
              <a:t>02</a:t>
            </a:r>
            <a:endParaRPr kumimoji="0" lang="en-GB" sz="6600" b="1" i="0" u="none" strike="noStrike" kern="1200" cap="none" spc="0" normalizeH="0" baseline="0" noProof="0">
              <a:ln>
                <a:noFill/>
              </a:ln>
              <a:solidFill>
                <a:srgbClr val="FFFFFF"/>
              </a:solidFill>
              <a:effectLst/>
              <a:uLnTx/>
              <a:uFillTx/>
              <a:latin typeface="+mj-lt"/>
              <a:ea typeface="+mn-ea"/>
              <a:cs typeface="+mn-cs"/>
            </a:endParaRPr>
          </a:p>
        </p:txBody>
      </p:sp>
      <p:sp>
        <p:nvSpPr>
          <p:cNvPr id="16" name="Tijdelijke aanduiding voor tekst 97">
            <a:extLst>
              <a:ext uri="{FF2B5EF4-FFF2-40B4-BE49-F238E27FC236}">
                <a16:creationId xmlns:a16="http://schemas.microsoft.com/office/drawing/2014/main" id="{0B0BD475-9564-FB8B-5785-B97D1B93638A}"/>
              </a:ext>
            </a:extLst>
          </p:cNvPr>
          <p:cNvSpPr txBox="1">
            <a:spLocks/>
          </p:cNvSpPr>
          <p:nvPr/>
        </p:nvSpPr>
        <p:spPr>
          <a:xfrm>
            <a:off x="8061014" y="1600070"/>
            <a:ext cx="3390102" cy="1991890"/>
          </a:xfrm>
          <a:prstGeom prst="roundRect">
            <a:avLst>
              <a:gd name="adj" fmla="val 6389"/>
            </a:avLst>
          </a:prstGeom>
          <a:solidFill>
            <a:schemeClr val="accent1"/>
          </a:solidFill>
          <a:effectLst>
            <a:outerShdw blurRad="127000" algn="ctr" rotWithShape="0">
              <a:srgbClr val="000000">
                <a:alpha val="20000"/>
              </a:srgbClr>
            </a:outerShdw>
          </a:effectLst>
        </p:spPr>
        <p:txBody>
          <a:bodyPr wrap="square">
            <a:noAutofit/>
          </a:bodyPr>
          <a:lstStyle>
            <a:lvl1pPr marL="0" indent="0" algn="l" defTabSz="719138" rtl="0" eaLnBrk="1" latinLnBrk="0" hangingPunct="1">
              <a:lnSpc>
                <a:spcPct val="100000"/>
              </a:lnSpc>
              <a:spcBef>
                <a:spcPts val="300"/>
              </a:spcBef>
              <a:spcAft>
                <a:spcPts val="600"/>
              </a:spcAft>
              <a:buClr>
                <a:schemeClr val="tx2"/>
              </a:buClr>
              <a:buSzPct val="100000"/>
              <a:buFont typeface="Aptos" panose="020B0004020202020204" pitchFamily="34" charset="0"/>
              <a:buNone/>
              <a:defRPr sz="100" kern="1200">
                <a:solidFill>
                  <a:schemeClr val="tx2">
                    <a:lumMod val="75000"/>
                    <a:alpha val="0"/>
                  </a:schemeClr>
                </a:solidFill>
                <a:latin typeface="+mn-lt"/>
                <a:ea typeface="+mn-ea"/>
                <a:cs typeface="+mn-cs"/>
              </a:defRPr>
            </a:lvl1pPr>
            <a:lvl2pPr marL="471488" indent="-254000" algn="l" defTabSz="719138" rtl="0" eaLnBrk="1" latinLnBrk="0" hangingPunct="1">
              <a:lnSpc>
                <a:spcPct val="100000"/>
              </a:lnSpc>
              <a:spcBef>
                <a:spcPts val="300"/>
              </a:spcBef>
              <a:spcAft>
                <a:spcPts val="600"/>
              </a:spcAft>
              <a:buClr>
                <a:schemeClr val="tx2"/>
              </a:buClr>
              <a:buSzPct val="100000"/>
              <a:buFont typeface="Aptos" panose="020B0004020202020204" pitchFamily="34" charset="0"/>
              <a:buChar char="•"/>
              <a:defRPr sz="1600" i="0" kern="1200">
                <a:solidFill>
                  <a:schemeClr val="tx2"/>
                </a:solidFill>
                <a:latin typeface="+mn-lt"/>
                <a:ea typeface="+mn-ea"/>
                <a:cs typeface="+mn-cs"/>
              </a:defRPr>
            </a:lvl2pPr>
            <a:lvl3pPr marL="0" indent="0" algn="l" defTabSz="719138" rtl="0" eaLnBrk="1" latinLnBrk="0" hangingPunct="1">
              <a:lnSpc>
                <a:spcPct val="100000"/>
              </a:lnSpc>
              <a:spcBef>
                <a:spcPts val="300"/>
              </a:spcBef>
              <a:spcAft>
                <a:spcPts val="600"/>
              </a:spcAft>
              <a:buClr>
                <a:srgbClr val="0070C0"/>
              </a:buClr>
              <a:buSzPct val="85000"/>
              <a:buFont typeface="Aptos" panose="020B0004020202020204" pitchFamily="34" charset="0"/>
              <a:buNone/>
              <a:defRPr sz="1600" i="0" kern="1200">
                <a:solidFill>
                  <a:schemeClr val="tx2"/>
                </a:solidFill>
                <a:latin typeface="+mn-lt"/>
                <a:ea typeface="+mn-ea"/>
                <a:cs typeface="+mn-cs"/>
              </a:defRPr>
            </a:lvl3pPr>
            <a:lvl4pPr marL="0" indent="0" algn="l" defTabSz="719138" rtl="0" eaLnBrk="1" latinLnBrk="0" hangingPunct="1">
              <a:lnSpc>
                <a:spcPct val="100000"/>
              </a:lnSpc>
              <a:spcBef>
                <a:spcPts val="300"/>
              </a:spcBef>
              <a:spcAft>
                <a:spcPts val="1200"/>
              </a:spcAft>
              <a:buFont typeface="Aptos" panose="020B0004020202020204" pitchFamily="34" charset="0"/>
              <a:buNone/>
              <a:defRPr sz="2000" b="0" kern="1200" cap="none" spc="0" baseline="0">
                <a:solidFill>
                  <a:schemeClr val="tx2"/>
                </a:solidFill>
                <a:latin typeface="+mj-lt"/>
                <a:ea typeface="+mn-ea"/>
                <a:cs typeface="+mn-cs"/>
              </a:defRPr>
            </a:lvl4pPr>
            <a:lvl5pPr marL="0" indent="0" algn="l" defTabSz="719138" rtl="0" eaLnBrk="1" latinLnBrk="0" hangingPunct="1">
              <a:lnSpc>
                <a:spcPct val="100000"/>
              </a:lnSpc>
              <a:spcBef>
                <a:spcPts val="300"/>
              </a:spcBef>
              <a:spcAft>
                <a:spcPts val="600"/>
              </a:spcAft>
              <a:buClr>
                <a:schemeClr val="tx2"/>
              </a:buClr>
              <a:buFont typeface="+mj-lt"/>
              <a:buNone/>
              <a:defRPr sz="1600" b="1" i="0" kern="1200">
                <a:solidFill>
                  <a:schemeClr val="tx2"/>
                </a:solidFill>
                <a:latin typeface="+mn-lt"/>
                <a:ea typeface="+mn-ea"/>
                <a:cs typeface="+mn-cs"/>
              </a:defRPr>
            </a:lvl5pPr>
            <a:lvl6pPr marL="222250" indent="-222250" algn="l" defTabSz="914400" rtl="0" eaLnBrk="1" latinLnBrk="0" hangingPunct="1">
              <a:lnSpc>
                <a:spcPct val="100000"/>
              </a:lnSpc>
              <a:spcBef>
                <a:spcPts val="300"/>
              </a:spcBef>
              <a:spcAft>
                <a:spcPts val="600"/>
              </a:spcAft>
              <a:buFont typeface="+mj-lt"/>
              <a:buAutoNum type="arabicPeriod"/>
              <a:defRPr sz="1600" b="0" i="0" kern="1200">
                <a:solidFill>
                  <a:schemeClr val="tx2"/>
                </a:solidFill>
                <a:latin typeface="+mn-lt"/>
                <a:ea typeface="+mn-ea"/>
                <a:cs typeface="+mn-cs"/>
              </a:defRPr>
            </a:lvl6pPr>
            <a:lvl7pPr marL="479425" indent="-261938" algn="l" defTabSz="914400" rtl="0" eaLnBrk="1" latinLnBrk="0" hangingPunct="1">
              <a:lnSpc>
                <a:spcPct val="100000"/>
              </a:lnSpc>
              <a:spcBef>
                <a:spcPts val="300"/>
              </a:spcBef>
              <a:spcAft>
                <a:spcPts val="600"/>
              </a:spcAft>
              <a:buFont typeface="+mj-lt"/>
              <a:buAutoNum type="alphaUcPeriod"/>
              <a:defRPr sz="1600" b="0" i="0" kern="1200">
                <a:solidFill>
                  <a:schemeClr val="tx2"/>
                </a:solidFill>
                <a:latin typeface="+mn-lt"/>
                <a:ea typeface="+mn-ea"/>
                <a:cs typeface="+mn-cs"/>
              </a:defRPr>
            </a:lvl7pPr>
            <a:lvl8pPr marL="0" indent="0" algn="l" defTabSz="914400" rtl="0" eaLnBrk="1" latinLnBrk="0" hangingPunct="1">
              <a:lnSpc>
                <a:spcPct val="90000"/>
              </a:lnSpc>
              <a:spcBef>
                <a:spcPts val="300"/>
              </a:spcBef>
              <a:spcAft>
                <a:spcPts val="600"/>
              </a:spcAft>
              <a:buFont typeface="Aptos" panose="020B0004020202020204" pitchFamily="34" charset="0"/>
              <a:buNone/>
              <a:defRPr sz="2800" i="1" kern="1200">
                <a:solidFill>
                  <a:schemeClr val="accent3"/>
                </a:solidFill>
                <a:latin typeface="+mj-lt"/>
                <a:ea typeface="+mn-ea"/>
                <a:cs typeface="+mn-cs"/>
              </a:defRPr>
            </a:lvl8pPr>
            <a:lvl9pPr marL="0" indent="0" algn="l" defTabSz="914400" rtl="0" eaLnBrk="1" latinLnBrk="0" hangingPunct="1">
              <a:lnSpc>
                <a:spcPct val="100000"/>
              </a:lnSpc>
              <a:spcBef>
                <a:spcPts val="300"/>
              </a:spcBef>
              <a:spcAft>
                <a:spcPts val="1200"/>
              </a:spcAft>
              <a:buFont typeface="Aptos" panose="020B0004020202020204" pitchFamily="34" charset="0"/>
              <a:buNone/>
              <a:defRPr sz="1200" b="0" kern="1200">
                <a:solidFill>
                  <a:schemeClr val="bg2">
                    <a:lumMod val="75000"/>
                  </a:schemeClr>
                </a:solidFill>
                <a:latin typeface="+mn-lt"/>
                <a:ea typeface="+mn-ea"/>
                <a:cs typeface="+mn-cs"/>
              </a:defRPr>
            </a:lvl9pPr>
          </a:lstStyle>
          <a:p>
            <a:pPr marL="0" marR="0" lvl="0" indent="0" algn="l" defTabSz="719138" rtl="0" eaLnBrk="1" fontAlgn="auto" latinLnBrk="0" hangingPunct="1">
              <a:lnSpc>
                <a:spcPct val="100000"/>
              </a:lnSpc>
              <a:spcBef>
                <a:spcPts val="300"/>
              </a:spcBef>
              <a:spcAft>
                <a:spcPts val="600"/>
              </a:spcAft>
              <a:buClr>
                <a:srgbClr val="070809"/>
              </a:buClr>
              <a:buSzPct val="100000"/>
              <a:buFont typeface="Aptos" panose="020B0004020202020204" pitchFamily="34" charset="0"/>
              <a:buNone/>
              <a:tabLst/>
              <a:defRPr/>
            </a:pPr>
            <a:r>
              <a:rPr kumimoji="0" lang="en-GB" sz="100" b="0" i="0" u="none" strike="noStrike" kern="1200" cap="none" spc="0" normalizeH="0" baseline="0" noProof="0">
                <a:ln>
                  <a:noFill/>
                </a:ln>
                <a:solidFill>
                  <a:srgbClr val="070809">
                    <a:lumMod val="75000"/>
                    <a:alpha val="0"/>
                  </a:srgbClr>
                </a:solidFill>
                <a:effectLst/>
                <a:uLnTx/>
                <a:uFillTx/>
                <a:latin typeface="Aptos" panose="020B0004020202020204" pitchFamily="34" charset="0"/>
                <a:ea typeface="+mn-ea"/>
                <a:cs typeface="+mn-cs"/>
              </a:rPr>
              <a:t> </a:t>
            </a:r>
          </a:p>
        </p:txBody>
      </p:sp>
      <p:sp>
        <p:nvSpPr>
          <p:cNvPr id="17" name="Tekstvak 16">
            <a:extLst>
              <a:ext uri="{FF2B5EF4-FFF2-40B4-BE49-F238E27FC236}">
                <a16:creationId xmlns:a16="http://schemas.microsoft.com/office/drawing/2014/main" id="{D80A9DAF-9CEF-F15A-8D50-39040C61EF94}"/>
              </a:ext>
            </a:extLst>
          </p:cNvPr>
          <p:cNvSpPr txBox="1"/>
          <p:nvPr/>
        </p:nvSpPr>
        <p:spPr>
          <a:xfrm>
            <a:off x="8416713" y="3130785"/>
            <a:ext cx="2947420" cy="460602"/>
          </a:xfrm>
          <a:prstGeom prst="rect">
            <a:avLst/>
          </a:prstGeom>
          <a:noFill/>
        </p:spPr>
        <p:txBody>
          <a:bodyPr wrap="square" lIns="0" tIns="0" rIns="0" bIns="0" rtlCol="0" anchor="t">
            <a:noAutofit/>
          </a:bodyPr>
          <a:lstStyle/>
          <a:p>
            <a:pPr>
              <a:lnSpc>
                <a:spcPct val="80000"/>
              </a:lnSpc>
              <a:defRPr/>
            </a:pPr>
            <a:r>
              <a:rPr lang="en-GB" sz="2200">
                <a:solidFill>
                  <a:srgbClr val="FFFFFF"/>
                </a:solidFill>
              </a:rPr>
              <a:t>Automating </a:t>
            </a:r>
            <a:r>
              <a:rPr lang="en-GB" sz="2200" err="1">
                <a:solidFill>
                  <a:srgbClr val="FFFFFF"/>
                </a:solidFill>
              </a:rPr>
              <a:t>Enrollment</a:t>
            </a:r>
          </a:p>
        </p:txBody>
      </p:sp>
      <p:sp>
        <p:nvSpPr>
          <p:cNvPr id="18" name="Tekstvak 17">
            <a:extLst>
              <a:ext uri="{FF2B5EF4-FFF2-40B4-BE49-F238E27FC236}">
                <a16:creationId xmlns:a16="http://schemas.microsoft.com/office/drawing/2014/main" id="{2050E4A2-5D45-03F8-5734-02D93174AA48}"/>
              </a:ext>
            </a:extLst>
          </p:cNvPr>
          <p:cNvSpPr txBox="1"/>
          <p:nvPr/>
        </p:nvSpPr>
        <p:spPr>
          <a:xfrm>
            <a:off x="8419197" y="2513057"/>
            <a:ext cx="1159683" cy="4243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a:ln>
                  <a:noFill/>
                </a:ln>
                <a:solidFill>
                  <a:srgbClr val="FFFFFF"/>
                </a:solidFill>
                <a:effectLst/>
                <a:uLnTx/>
                <a:uFillTx/>
                <a:latin typeface="+mj-lt"/>
                <a:ea typeface="+mn-ea"/>
                <a:cs typeface="+mn-cs"/>
              </a:rPr>
              <a:t>03</a:t>
            </a:r>
            <a:endParaRPr kumimoji="0" lang="en-GB" sz="6600" b="1" i="0" u="none" strike="noStrike" kern="1200" cap="none" spc="0" normalizeH="0" baseline="0" noProof="0">
              <a:ln>
                <a:noFill/>
              </a:ln>
              <a:solidFill>
                <a:srgbClr val="FFFFFF"/>
              </a:solidFill>
              <a:effectLst/>
              <a:uLnTx/>
              <a:uFillTx/>
              <a:latin typeface="+mj-lt"/>
              <a:ea typeface="+mn-ea"/>
              <a:cs typeface="+mn-cs"/>
            </a:endParaRPr>
          </a:p>
        </p:txBody>
      </p:sp>
      <p:sp>
        <p:nvSpPr>
          <p:cNvPr id="19" name="Tijdelijke aanduiding voor tekst 97">
            <a:extLst>
              <a:ext uri="{FF2B5EF4-FFF2-40B4-BE49-F238E27FC236}">
                <a16:creationId xmlns:a16="http://schemas.microsoft.com/office/drawing/2014/main" id="{B20EB647-CB5B-5BBC-09BC-AE59E25F7728}"/>
              </a:ext>
            </a:extLst>
          </p:cNvPr>
          <p:cNvSpPr txBox="1">
            <a:spLocks/>
          </p:cNvSpPr>
          <p:nvPr/>
        </p:nvSpPr>
        <p:spPr>
          <a:xfrm>
            <a:off x="714375" y="3814039"/>
            <a:ext cx="3390102" cy="1991890"/>
          </a:xfrm>
          <a:prstGeom prst="roundRect">
            <a:avLst>
              <a:gd name="adj" fmla="val 6389"/>
            </a:avLst>
          </a:prstGeom>
          <a:solidFill>
            <a:schemeClr val="accent1"/>
          </a:solidFill>
          <a:effectLst>
            <a:outerShdw blurRad="127000" algn="ctr" rotWithShape="0">
              <a:srgbClr val="000000">
                <a:alpha val="20000"/>
              </a:srgbClr>
            </a:outerShdw>
          </a:effectLst>
        </p:spPr>
        <p:txBody>
          <a:bodyPr wrap="square">
            <a:noAutofit/>
          </a:bodyPr>
          <a:lstStyle>
            <a:lvl1pPr marL="0" indent="0" algn="l" defTabSz="719138" rtl="0" eaLnBrk="1" latinLnBrk="0" hangingPunct="1">
              <a:lnSpc>
                <a:spcPct val="100000"/>
              </a:lnSpc>
              <a:spcBef>
                <a:spcPts val="300"/>
              </a:spcBef>
              <a:spcAft>
                <a:spcPts val="600"/>
              </a:spcAft>
              <a:buClr>
                <a:schemeClr val="tx2"/>
              </a:buClr>
              <a:buSzPct val="100000"/>
              <a:buFont typeface="Aptos" panose="020B0004020202020204" pitchFamily="34" charset="0"/>
              <a:buNone/>
              <a:defRPr sz="100" kern="1200">
                <a:solidFill>
                  <a:schemeClr val="tx2">
                    <a:lumMod val="75000"/>
                    <a:alpha val="0"/>
                  </a:schemeClr>
                </a:solidFill>
                <a:latin typeface="+mn-lt"/>
                <a:ea typeface="+mn-ea"/>
                <a:cs typeface="+mn-cs"/>
              </a:defRPr>
            </a:lvl1pPr>
            <a:lvl2pPr marL="471488" indent="-254000" algn="l" defTabSz="719138" rtl="0" eaLnBrk="1" latinLnBrk="0" hangingPunct="1">
              <a:lnSpc>
                <a:spcPct val="100000"/>
              </a:lnSpc>
              <a:spcBef>
                <a:spcPts val="300"/>
              </a:spcBef>
              <a:spcAft>
                <a:spcPts val="600"/>
              </a:spcAft>
              <a:buClr>
                <a:schemeClr val="tx2"/>
              </a:buClr>
              <a:buSzPct val="100000"/>
              <a:buFont typeface="Aptos" panose="020B0004020202020204" pitchFamily="34" charset="0"/>
              <a:buChar char="•"/>
              <a:defRPr sz="1600" i="0" kern="1200">
                <a:solidFill>
                  <a:schemeClr val="tx2"/>
                </a:solidFill>
                <a:latin typeface="+mn-lt"/>
                <a:ea typeface="+mn-ea"/>
                <a:cs typeface="+mn-cs"/>
              </a:defRPr>
            </a:lvl2pPr>
            <a:lvl3pPr marL="0" indent="0" algn="l" defTabSz="719138" rtl="0" eaLnBrk="1" latinLnBrk="0" hangingPunct="1">
              <a:lnSpc>
                <a:spcPct val="100000"/>
              </a:lnSpc>
              <a:spcBef>
                <a:spcPts val="300"/>
              </a:spcBef>
              <a:spcAft>
                <a:spcPts val="600"/>
              </a:spcAft>
              <a:buClr>
                <a:srgbClr val="0070C0"/>
              </a:buClr>
              <a:buSzPct val="85000"/>
              <a:buFont typeface="Aptos" panose="020B0004020202020204" pitchFamily="34" charset="0"/>
              <a:buNone/>
              <a:defRPr sz="1600" i="0" kern="1200">
                <a:solidFill>
                  <a:schemeClr val="tx2"/>
                </a:solidFill>
                <a:latin typeface="+mn-lt"/>
                <a:ea typeface="+mn-ea"/>
                <a:cs typeface="+mn-cs"/>
              </a:defRPr>
            </a:lvl3pPr>
            <a:lvl4pPr marL="0" indent="0" algn="l" defTabSz="719138" rtl="0" eaLnBrk="1" latinLnBrk="0" hangingPunct="1">
              <a:lnSpc>
                <a:spcPct val="100000"/>
              </a:lnSpc>
              <a:spcBef>
                <a:spcPts val="300"/>
              </a:spcBef>
              <a:spcAft>
                <a:spcPts val="1200"/>
              </a:spcAft>
              <a:buFont typeface="Aptos" panose="020B0004020202020204" pitchFamily="34" charset="0"/>
              <a:buNone/>
              <a:defRPr sz="2000" b="0" kern="1200" cap="none" spc="0" baseline="0">
                <a:solidFill>
                  <a:schemeClr val="tx2"/>
                </a:solidFill>
                <a:latin typeface="+mj-lt"/>
                <a:ea typeface="+mn-ea"/>
                <a:cs typeface="+mn-cs"/>
              </a:defRPr>
            </a:lvl4pPr>
            <a:lvl5pPr marL="0" indent="0" algn="l" defTabSz="719138" rtl="0" eaLnBrk="1" latinLnBrk="0" hangingPunct="1">
              <a:lnSpc>
                <a:spcPct val="100000"/>
              </a:lnSpc>
              <a:spcBef>
                <a:spcPts val="300"/>
              </a:spcBef>
              <a:spcAft>
                <a:spcPts val="600"/>
              </a:spcAft>
              <a:buClr>
                <a:schemeClr val="tx2"/>
              </a:buClr>
              <a:buFont typeface="+mj-lt"/>
              <a:buNone/>
              <a:defRPr sz="1600" b="1" i="0" kern="1200">
                <a:solidFill>
                  <a:schemeClr val="tx2"/>
                </a:solidFill>
                <a:latin typeface="+mn-lt"/>
                <a:ea typeface="+mn-ea"/>
                <a:cs typeface="+mn-cs"/>
              </a:defRPr>
            </a:lvl5pPr>
            <a:lvl6pPr marL="222250" indent="-222250" algn="l" defTabSz="914400" rtl="0" eaLnBrk="1" latinLnBrk="0" hangingPunct="1">
              <a:lnSpc>
                <a:spcPct val="100000"/>
              </a:lnSpc>
              <a:spcBef>
                <a:spcPts val="300"/>
              </a:spcBef>
              <a:spcAft>
                <a:spcPts val="600"/>
              </a:spcAft>
              <a:buFont typeface="+mj-lt"/>
              <a:buAutoNum type="arabicPeriod"/>
              <a:defRPr sz="1600" b="0" i="0" kern="1200">
                <a:solidFill>
                  <a:schemeClr val="tx2"/>
                </a:solidFill>
                <a:latin typeface="+mn-lt"/>
                <a:ea typeface="+mn-ea"/>
                <a:cs typeface="+mn-cs"/>
              </a:defRPr>
            </a:lvl6pPr>
            <a:lvl7pPr marL="479425" indent="-261938" algn="l" defTabSz="914400" rtl="0" eaLnBrk="1" latinLnBrk="0" hangingPunct="1">
              <a:lnSpc>
                <a:spcPct val="100000"/>
              </a:lnSpc>
              <a:spcBef>
                <a:spcPts val="300"/>
              </a:spcBef>
              <a:spcAft>
                <a:spcPts val="600"/>
              </a:spcAft>
              <a:buFont typeface="+mj-lt"/>
              <a:buAutoNum type="alphaUcPeriod"/>
              <a:defRPr sz="1600" b="0" i="0" kern="1200">
                <a:solidFill>
                  <a:schemeClr val="tx2"/>
                </a:solidFill>
                <a:latin typeface="+mn-lt"/>
                <a:ea typeface="+mn-ea"/>
                <a:cs typeface="+mn-cs"/>
              </a:defRPr>
            </a:lvl7pPr>
            <a:lvl8pPr marL="0" indent="0" algn="l" defTabSz="914400" rtl="0" eaLnBrk="1" latinLnBrk="0" hangingPunct="1">
              <a:lnSpc>
                <a:spcPct val="90000"/>
              </a:lnSpc>
              <a:spcBef>
                <a:spcPts val="300"/>
              </a:spcBef>
              <a:spcAft>
                <a:spcPts val="600"/>
              </a:spcAft>
              <a:buFont typeface="Aptos" panose="020B0004020202020204" pitchFamily="34" charset="0"/>
              <a:buNone/>
              <a:defRPr sz="2800" i="1" kern="1200">
                <a:solidFill>
                  <a:schemeClr val="accent3"/>
                </a:solidFill>
                <a:latin typeface="+mj-lt"/>
                <a:ea typeface="+mn-ea"/>
                <a:cs typeface="+mn-cs"/>
              </a:defRPr>
            </a:lvl8pPr>
            <a:lvl9pPr marL="0" indent="0" algn="l" defTabSz="914400" rtl="0" eaLnBrk="1" latinLnBrk="0" hangingPunct="1">
              <a:lnSpc>
                <a:spcPct val="100000"/>
              </a:lnSpc>
              <a:spcBef>
                <a:spcPts val="300"/>
              </a:spcBef>
              <a:spcAft>
                <a:spcPts val="1200"/>
              </a:spcAft>
              <a:buFont typeface="Aptos" panose="020B0004020202020204" pitchFamily="34" charset="0"/>
              <a:buNone/>
              <a:defRPr sz="1200" b="0" kern="1200">
                <a:solidFill>
                  <a:schemeClr val="bg2">
                    <a:lumMod val="75000"/>
                  </a:schemeClr>
                </a:solidFill>
                <a:latin typeface="+mn-lt"/>
                <a:ea typeface="+mn-ea"/>
                <a:cs typeface="+mn-cs"/>
              </a:defRPr>
            </a:lvl9pPr>
          </a:lstStyle>
          <a:p>
            <a:pPr marL="0" marR="0" lvl="0" indent="0" algn="l" defTabSz="719138" rtl="0" eaLnBrk="1" fontAlgn="auto" latinLnBrk="0" hangingPunct="1">
              <a:lnSpc>
                <a:spcPct val="100000"/>
              </a:lnSpc>
              <a:spcBef>
                <a:spcPts val="300"/>
              </a:spcBef>
              <a:spcAft>
                <a:spcPts val="600"/>
              </a:spcAft>
              <a:buClr>
                <a:srgbClr val="070809"/>
              </a:buClr>
              <a:buSzPct val="100000"/>
              <a:buFont typeface="Aptos" panose="020B0004020202020204" pitchFamily="34" charset="0"/>
              <a:buNone/>
              <a:tabLst/>
              <a:defRPr/>
            </a:pPr>
            <a:r>
              <a:rPr kumimoji="0" lang="en-GB" sz="100" b="0" i="0" u="none" strike="noStrike" kern="1200" cap="none" spc="0" normalizeH="0" baseline="0" noProof="0">
                <a:ln>
                  <a:noFill/>
                </a:ln>
                <a:solidFill>
                  <a:srgbClr val="070809">
                    <a:lumMod val="75000"/>
                    <a:alpha val="0"/>
                  </a:srgbClr>
                </a:solidFill>
                <a:effectLst/>
                <a:uLnTx/>
                <a:uFillTx/>
                <a:latin typeface="Aptos" panose="020B0004020202020204" pitchFamily="34" charset="0"/>
                <a:ea typeface="+mn-ea"/>
                <a:cs typeface="+mn-cs"/>
              </a:rPr>
              <a:t> </a:t>
            </a:r>
          </a:p>
        </p:txBody>
      </p:sp>
      <p:sp>
        <p:nvSpPr>
          <p:cNvPr id="20" name="Tekstvak 19">
            <a:extLst>
              <a:ext uri="{FF2B5EF4-FFF2-40B4-BE49-F238E27FC236}">
                <a16:creationId xmlns:a16="http://schemas.microsoft.com/office/drawing/2014/main" id="{A1D95375-A639-3883-2B27-607B5965701F}"/>
              </a:ext>
            </a:extLst>
          </p:cNvPr>
          <p:cNvSpPr txBox="1"/>
          <p:nvPr/>
        </p:nvSpPr>
        <p:spPr>
          <a:xfrm>
            <a:off x="1061003" y="5344754"/>
            <a:ext cx="2847634" cy="424317"/>
          </a:xfrm>
          <a:prstGeom prst="rect">
            <a:avLst/>
          </a:prstGeom>
          <a:noFill/>
        </p:spPr>
        <p:txBody>
          <a:bodyPr wrap="square" lIns="0" tIns="0" rIns="0" bIns="0" rtlCol="0" anchor="t">
            <a:noAutofit/>
          </a:bodyPr>
          <a:lstStyle/>
          <a:p>
            <a:pPr>
              <a:lnSpc>
                <a:spcPct val="80000"/>
              </a:lnSpc>
              <a:defRPr/>
            </a:pPr>
            <a:r>
              <a:rPr lang="en-GB" sz="2200">
                <a:solidFill>
                  <a:srgbClr val="FFFFFF"/>
                </a:solidFill>
              </a:rPr>
              <a:t>Organising</a:t>
            </a:r>
            <a:endParaRPr lang="nl-NL">
              <a:ea typeface="+mn-ea"/>
              <a:cs typeface="+mn-cs"/>
            </a:endParaRPr>
          </a:p>
        </p:txBody>
      </p:sp>
      <p:sp>
        <p:nvSpPr>
          <p:cNvPr id="21" name="Tekstvak 20">
            <a:extLst>
              <a:ext uri="{FF2B5EF4-FFF2-40B4-BE49-F238E27FC236}">
                <a16:creationId xmlns:a16="http://schemas.microsoft.com/office/drawing/2014/main" id="{E54F314D-263A-07FD-D89A-3C905AFEECB7}"/>
              </a:ext>
            </a:extLst>
          </p:cNvPr>
          <p:cNvSpPr txBox="1"/>
          <p:nvPr/>
        </p:nvSpPr>
        <p:spPr>
          <a:xfrm>
            <a:off x="1072558" y="4727026"/>
            <a:ext cx="1159683" cy="4243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a:ln>
                  <a:noFill/>
                </a:ln>
                <a:solidFill>
                  <a:srgbClr val="FFFFFF"/>
                </a:solidFill>
                <a:effectLst/>
                <a:uLnTx/>
                <a:uFillTx/>
                <a:latin typeface="+mj-lt"/>
                <a:ea typeface="+mn-ea"/>
                <a:cs typeface="+mn-cs"/>
              </a:rPr>
              <a:t>04</a:t>
            </a:r>
            <a:endParaRPr kumimoji="0" lang="en-GB" sz="6600" b="1" i="0" u="none" strike="noStrike" kern="1200" cap="none" spc="0" normalizeH="0" baseline="0" noProof="0">
              <a:ln>
                <a:noFill/>
              </a:ln>
              <a:solidFill>
                <a:srgbClr val="FFFFFF"/>
              </a:solidFill>
              <a:effectLst/>
              <a:uLnTx/>
              <a:uFillTx/>
              <a:latin typeface="+mj-lt"/>
              <a:ea typeface="+mn-ea"/>
              <a:cs typeface="+mn-cs"/>
            </a:endParaRPr>
          </a:p>
        </p:txBody>
      </p:sp>
      <p:sp>
        <p:nvSpPr>
          <p:cNvPr id="22" name="Tijdelijke aanduiding voor tekst 97">
            <a:extLst>
              <a:ext uri="{FF2B5EF4-FFF2-40B4-BE49-F238E27FC236}">
                <a16:creationId xmlns:a16="http://schemas.microsoft.com/office/drawing/2014/main" id="{112D18DA-A918-0EC4-ED1F-EFA67826185D}"/>
              </a:ext>
            </a:extLst>
          </p:cNvPr>
          <p:cNvSpPr txBox="1">
            <a:spLocks/>
          </p:cNvSpPr>
          <p:nvPr/>
        </p:nvSpPr>
        <p:spPr>
          <a:xfrm>
            <a:off x="4387694" y="3814039"/>
            <a:ext cx="3390102" cy="1991890"/>
          </a:xfrm>
          <a:prstGeom prst="roundRect">
            <a:avLst>
              <a:gd name="adj" fmla="val 6389"/>
            </a:avLst>
          </a:prstGeom>
          <a:solidFill>
            <a:schemeClr val="accent1"/>
          </a:solidFill>
          <a:effectLst>
            <a:outerShdw blurRad="127000" algn="ctr" rotWithShape="0">
              <a:srgbClr val="000000">
                <a:alpha val="20000"/>
              </a:srgbClr>
            </a:outerShdw>
          </a:effectLst>
        </p:spPr>
        <p:txBody>
          <a:bodyPr wrap="square">
            <a:noAutofit/>
          </a:bodyPr>
          <a:lstStyle>
            <a:lvl1pPr marL="0" indent="0" algn="l" defTabSz="719138" rtl="0" eaLnBrk="1" latinLnBrk="0" hangingPunct="1">
              <a:lnSpc>
                <a:spcPct val="100000"/>
              </a:lnSpc>
              <a:spcBef>
                <a:spcPts val="300"/>
              </a:spcBef>
              <a:spcAft>
                <a:spcPts val="600"/>
              </a:spcAft>
              <a:buClr>
                <a:schemeClr val="tx2"/>
              </a:buClr>
              <a:buSzPct val="100000"/>
              <a:buFont typeface="Aptos" panose="020B0004020202020204" pitchFamily="34" charset="0"/>
              <a:buNone/>
              <a:defRPr sz="100" kern="1200">
                <a:solidFill>
                  <a:schemeClr val="tx2">
                    <a:lumMod val="75000"/>
                    <a:alpha val="0"/>
                  </a:schemeClr>
                </a:solidFill>
                <a:latin typeface="+mn-lt"/>
                <a:ea typeface="+mn-ea"/>
                <a:cs typeface="+mn-cs"/>
              </a:defRPr>
            </a:lvl1pPr>
            <a:lvl2pPr marL="471488" indent="-254000" algn="l" defTabSz="719138" rtl="0" eaLnBrk="1" latinLnBrk="0" hangingPunct="1">
              <a:lnSpc>
                <a:spcPct val="100000"/>
              </a:lnSpc>
              <a:spcBef>
                <a:spcPts val="300"/>
              </a:spcBef>
              <a:spcAft>
                <a:spcPts val="600"/>
              </a:spcAft>
              <a:buClr>
                <a:schemeClr val="tx2"/>
              </a:buClr>
              <a:buSzPct val="100000"/>
              <a:buFont typeface="Aptos" panose="020B0004020202020204" pitchFamily="34" charset="0"/>
              <a:buChar char="•"/>
              <a:defRPr sz="1600" i="0" kern="1200">
                <a:solidFill>
                  <a:schemeClr val="tx2"/>
                </a:solidFill>
                <a:latin typeface="+mn-lt"/>
                <a:ea typeface="+mn-ea"/>
                <a:cs typeface="+mn-cs"/>
              </a:defRPr>
            </a:lvl2pPr>
            <a:lvl3pPr marL="0" indent="0" algn="l" defTabSz="719138" rtl="0" eaLnBrk="1" latinLnBrk="0" hangingPunct="1">
              <a:lnSpc>
                <a:spcPct val="100000"/>
              </a:lnSpc>
              <a:spcBef>
                <a:spcPts val="300"/>
              </a:spcBef>
              <a:spcAft>
                <a:spcPts val="600"/>
              </a:spcAft>
              <a:buClr>
                <a:srgbClr val="0070C0"/>
              </a:buClr>
              <a:buSzPct val="85000"/>
              <a:buFont typeface="Aptos" panose="020B0004020202020204" pitchFamily="34" charset="0"/>
              <a:buNone/>
              <a:defRPr sz="1600" i="0" kern="1200">
                <a:solidFill>
                  <a:schemeClr val="tx2"/>
                </a:solidFill>
                <a:latin typeface="+mn-lt"/>
                <a:ea typeface="+mn-ea"/>
                <a:cs typeface="+mn-cs"/>
              </a:defRPr>
            </a:lvl3pPr>
            <a:lvl4pPr marL="0" indent="0" algn="l" defTabSz="719138" rtl="0" eaLnBrk="1" latinLnBrk="0" hangingPunct="1">
              <a:lnSpc>
                <a:spcPct val="100000"/>
              </a:lnSpc>
              <a:spcBef>
                <a:spcPts val="300"/>
              </a:spcBef>
              <a:spcAft>
                <a:spcPts val="1200"/>
              </a:spcAft>
              <a:buFont typeface="Aptos" panose="020B0004020202020204" pitchFamily="34" charset="0"/>
              <a:buNone/>
              <a:defRPr sz="2000" b="0" kern="1200" cap="none" spc="0" baseline="0">
                <a:solidFill>
                  <a:schemeClr val="tx2"/>
                </a:solidFill>
                <a:latin typeface="+mj-lt"/>
                <a:ea typeface="+mn-ea"/>
                <a:cs typeface="+mn-cs"/>
              </a:defRPr>
            </a:lvl4pPr>
            <a:lvl5pPr marL="0" indent="0" algn="l" defTabSz="719138" rtl="0" eaLnBrk="1" latinLnBrk="0" hangingPunct="1">
              <a:lnSpc>
                <a:spcPct val="100000"/>
              </a:lnSpc>
              <a:spcBef>
                <a:spcPts val="300"/>
              </a:spcBef>
              <a:spcAft>
                <a:spcPts val="600"/>
              </a:spcAft>
              <a:buClr>
                <a:schemeClr val="tx2"/>
              </a:buClr>
              <a:buFont typeface="+mj-lt"/>
              <a:buNone/>
              <a:defRPr sz="1600" b="1" i="0" kern="1200">
                <a:solidFill>
                  <a:schemeClr val="tx2"/>
                </a:solidFill>
                <a:latin typeface="+mn-lt"/>
                <a:ea typeface="+mn-ea"/>
                <a:cs typeface="+mn-cs"/>
              </a:defRPr>
            </a:lvl5pPr>
            <a:lvl6pPr marL="222250" indent="-222250" algn="l" defTabSz="914400" rtl="0" eaLnBrk="1" latinLnBrk="0" hangingPunct="1">
              <a:lnSpc>
                <a:spcPct val="100000"/>
              </a:lnSpc>
              <a:spcBef>
                <a:spcPts val="300"/>
              </a:spcBef>
              <a:spcAft>
                <a:spcPts val="600"/>
              </a:spcAft>
              <a:buFont typeface="+mj-lt"/>
              <a:buAutoNum type="arabicPeriod"/>
              <a:defRPr sz="1600" b="0" i="0" kern="1200">
                <a:solidFill>
                  <a:schemeClr val="tx2"/>
                </a:solidFill>
                <a:latin typeface="+mn-lt"/>
                <a:ea typeface="+mn-ea"/>
                <a:cs typeface="+mn-cs"/>
              </a:defRPr>
            </a:lvl6pPr>
            <a:lvl7pPr marL="479425" indent="-261938" algn="l" defTabSz="914400" rtl="0" eaLnBrk="1" latinLnBrk="0" hangingPunct="1">
              <a:lnSpc>
                <a:spcPct val="100000"/>
              </a:lnSpc>
              <a:spcBef>
                <a:spcPts val="300"/>
              </a:spcBef>
              <a:spcAft>
                <a:spcPts val="600"/>
              </a:spcAft>
              <a:buFont typeface="+mj-lt"/>
              <a:buAutoNum type="alphaUcPeriod"/>
              <a:defRPr sz="1600" b="0" i="0" kern="1200">
                <a:solidFill>
                  <a:schemeClr val="tx2"/>
                </a:solidFill>
                <a:latin typeface="+mn-lt"/>
                <a:ea typeface="+mn-ea"/>
                <a:cs typeface="+mn-cs"/>
              </a:defRPr>
            </a:lvl7pPr>
            <a:lvl8pPr marL="0" indent="0" algn="l" defTabSz="914400" rtl="0" eaLnBrk="1" latinLnBrk="0" hangingPunct="1">
              <a:lnSpc>
                <a:spcPct val="90000"/>
              </a:lnSpc>
              <a:spcBef>
                <a:spcPts val="300"/>
              </a:spcBef>
              <a:spcAft>
                <a:spcPts val="600"/>
              </a:spcAft>
              <a:buFont typeface="Aptos" panose="020B0004020202020204" pitchFamily="34" charset="0"/>
              <a:buNone/>
              <a:defRPr sz="2800" i="1" kern="1200">
                <a:solidFill>
                  <a:schemeClr val="accent3"/>
                </a:solidFill>
                <a:latin typeface="+mj-lt"/>
                <a:ea typeface="+mn-ea"/>
                <a:cs typeface="+mn-cs"/>
              </a:defRPr>
            </a:lvl8pPr>
            <a:lvl9pPr marL="0" indent="0" algn="l" defTabSz="914400" rtl="0" eaLnBrk="1" latinLnBrk="0" hangingPunct="1">
              <a:lnSpc>
                <a:spcPct val="100000"/>
              </a:lnSpc>
              <a:spcBef>
                <a:spcPts val="300"/>
              </a:spcBef>
              <a:spcAft>
                <a:spcPts val="1200"/>
              </a:spcAft>
              <a:buFont typeface="Aptos" panose="020B0004020202020204" pitchFamily="34" charset="0"/>
              <a:buNone/>
              <a:defRPr sz="1200" b="0" kern="1200">
                <a:solidFill>
                  <a:schemeClr val="bg2">
                    <a:lumMod val="75000"/>
                  </a:schemeClr>
                </a:solidFill>
                <a:latin typeface="+mn-lt"/>
                <a:ea typeface="+mn-ea"/>
                <a:cs typeface="+mn-cs"/>
              </a:defRPr>
            </a:lvl9pPr>
          </a:lstStyle>
          <a:p>
            <a:pPr marL="0" marR="0" lvl="0" indent="0" algn="l" defTabSz="719138" rtl="0" eaLnBrk="1" fontAlgn="auto" latinLnBrk="0" hangingPunct="1">
              <a:lnSpc>
                <a:spcPct val="100000"/>
              </a:lnSpc>
              <a:spcBef>
                <a:spcPts val="300"/>
              </a:spcBef>
              <a:spcAft>
                <a:spcPts val="600"/>
              </a:spcAft>
              <a:buClr>
                <a:srgbClr val="070809"/>
              </a:buClr>
              <a:buSzPct val="100000"/>
              <a:buFont typeface="Aptos" panose="020B0004020202020204" pitchFamily="34" charset="0"/>
              <a:buNone/>
              <a:tabLst/>
              <a:defRPr/>
            </a:pPr>
            <a:r>
              <a:rPr kumimoji="0" lang="en-GB" sz="100" b="0" i="0" u="none" strike="noStrike" kern="1200" cap="none" spc="0" normalizeH="0" baseline="0" noProof="0">
                <a:ln>
                  <a:noFill/>
                </a:ln>
                <a:solidFill>
                  <a:srgbClr val="070809">
                    <a:lumMod val="75000"/>
                    <a:alpha val="0"/>
                  </a:srgbClr>
                </a:solidFill>
                <a:effectLst/>
                <a:uLnTx/>
                <a:uFillTx/>
                <a:latin typeface="Aptos" panose="020B0004020202020204" pitchFamily="34" charset="0"/>
                <a:ea typeface="+mn-ea"/>
                <a:cs typeface="+mn-cs"/>
              </a:rPr>
              <a:t> </a:t>
            </a:r>
          </a:p>
        </p:txBody>
      </p:sp>
      <p:sp>
        <p:nvSpPr>
          <p:cNvPr id="23" name="Tekstvak 22">
            <a:extLst>
              <a:ext uri="{FF2B5EF4-FFF2-40B4-BE49-F238E27FC236}">
                <a16:creationId xmlns:a16="http://schemas.microsoft.com/office/drawing/2014/main" id="{51F2F407-F063-716C-DAF7-4E37C7D0FDEE}"/>
              </a:ext>
            </a:extLst>
          </p:cNvPr>
          <p:cNvSpPr txBox="1"/>
          <p:nvPr/>
        </p:nvSpPr>
        <p:spPr>
          <a:xfrm>
            <a:off x="4734322" y="5344754"/>
            <a:ext cx="2847634" cy="424317"/>
          </a:xfrm>
          <a:prstGeom prst="rect">
            <a:avLst/>
          </a:prstGeom>
          <a:noFill/>
        </p:spPr>
        <p:txBody>
          <a:bodyPr wrap="square" lIns="0" tIns="0" rIns="0" bIns="0" rtlCol="0" anchor="t">
            <a:noAutofit/>
          </a:bodyPr>
          <a:lstStyle/>
          <a:p>
            <a:pPr>
              <a:defRPr/>
            </a:pPr>
            <a:r>
              <a:rPr lang="en-GB" sz="2200">
                <a:solidFill>
                  <a:srgbClr val="FFFFFF"/>
                </a:solidFill>
              </a:rPr>
              <a:t>Lessons learned</a:t>
            </a:r>
            <a:endParaRPr lang="en-GB" sz="2200">
              <a:solidFill>
                <a:srgbClr val="000000"/>
              </a:solidFill>
            </a:endParaRPr>
          </a:p>
          <a:p>
            <a:pPr>
              <a:lnSpc>
                <a:spcPct val="80000"/>
              </a:lnSpc>
              <a:defRPr/>
            </a:pPr>
            <a:endParaRPr lang="en-GB" sz="2200">
              <a:solidFill>
                <a:srgbClr val="FFFFFF"/>
              </a:solidFill>
            </a:endParaRPr>
          </a:p>
        </p:txBody>
      </p:sp>
      <p:sp>
        <p:nvSpPr>
          <p:cNvPr id="24" name="Tekstvak 23">
            <a:extLst>
              <a:ext uri="{FF2B5EF4-FFF2-40B4-BE49-F238E27FC236}">
                <a16:creationId xmlns:a16="http://schemas.microsoft.com/office/drawing/2014/main" id="{DE122410-8DD7-8BC7-D07D-823EDDB67B3C}"/>
              </a:ext>
            </a:extLst>
          </p:cNvPr>
          <p:cNvSpPr txBox="1"/>
          <p:nvPr/>
        </p:nvSpPr>
        <p:spPr>
          <a:xfrm>
            <a:off x="4745877" y="4727026"/>
            <a:ext cx="1159683" cy="4243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a:ln>
                  <a:noFill/>
                </a:ln>
                <a:solidFill>
                  <a:srgbClr val="FFFFFF"/>
                </a:solidFill>
                <a:effectLst/>
                <a:uLnTx/>
                <a:uFillTx/>
                <a:latin typeface="+mj-lt"/>
                <a:ea typeface="+mn-ea"/>
                <a:cs typeface="+mn-cs"/>
              </a:rPr>
              <a:t>05</a:t>
            </a:r>
            <a:endParaRPr kumimoji="0" lang="en-GB" sz="6600" b="1" i="0" u="none" strike="noStrike" kern="1200" cap="none" spc="0" normalizeH="0" baseline="0" noProof="0">
              <a:ln>
                <a:noFill/>
              </a:ln>
              <a:solidFill>
                <a:srgbClr val="FFFFFF"/>
              </a:solidFill>
              <a:effectLst/>
              <a:uLnTx/>
              <a:uFillTx/>
              <a:latin typeface="+mj-lt"/>
              <a:ea typeface="+mn-ea"/>
              <a:cs typeface="+mn-cs"/>
            </a:endParaRPr>
          </a:p>
        </p:txBody>
      </p:sp>
      <p:sp>
        <p:nvSpPr>
          <p:cNvPr id="25" name="Tijdelijke aanduiding voor tekst 97">
            <a:extLst>
              <a:ext uri="{FF2B5EF4-FFF2-40B4-BE49-F238E27FC236}">
                <a16:creationId xmlns:a16="http://schemas.microsoft.com/office/drawing/2014/main" id="{922C1147-9777-4D1C-401B-2B05FE447AC2}"/>
              </a:ext>
            </a:extLst>
          </p:cNvPr>
          <p:cNvSpPr txBox="1">
            <a:spLocks/>
          </p:cNvSpPr>
          <p:nvPr/>
        </p:nvSpPr>
        <p:spPr>
          <a:xfrm>
            <a:off x="8061014" y="3814039"/>
            <a:ext cx="3390102" cy="1991890"/>
          </a:xfrm>
          <a:prstGeom prst="roundRect">
            <a:avLst>
              <a:gd name="adj" fmla="val 6389"/>
            </a:avLst>
          </a:prstGeom>
          <a:solidFill>
            <a:schemeClr val="accent1"/>
          </a:solidFill>
          <a:effectLst>
            <a:outerShdw blurRad="127000" algn="ctr" rotWithShape="0">
              <a:srgbClr val="000000">
                <a:alpha val="20000"/>
              </a:srgbClr>
            </a:outerShdw>
          </a:effectLst>
        </p:spPr>
        <p:txBody>
          <a:bodyPr wrap="square">
            <a:noAutofit/>
          </a:bodyPr>
          <a:lstStyle>
            <a:lvl1pPr marL="0" indent="0" algn="l" defTabSz="719138" rtl="0" eaLnBrk="1" latinLnBrk="0" hangingPunct="1">
              <a:lnSpc>
                <a:spcPct val="100000"/>
              </a:lnSpc>
              <a:spcBef>
                <a:spcPts val="300"/>
              </a:spcBef>
              <a:spcAft>
                <a:spcPts val="600"/>
              </a:spcAft>
              <a:buClr>
                <a:schemeClr val="tx2"/>
              </a:buClr>
              <a:buSzPct val="100000"/>
              <a:buFont typeface="Aptos" panose="020B0004020202020204" pitchFamily="34" charset="0"/>
              <a:buNone/>
              <a:defRPr sz="100" kern="1200">
                <a:solidFill>
                  <a:schemeClr val="tx2">
                    <a:lumMod val="75000"/>
                    <a:alpha val="0"/>
                  </a:schemeClr>
                </a:solidFill>
                <a:latin typeface="+mn-lt"/>
                <a:ea typeface="+mn-ea"/>
                <a:cs typeface="+mn-cs"/>
              </a:defRPr>
            </a:lvl1pPr>
            <a:lvl2pPr marL="471488" indent="-254000" algn="l" defTabSz="719138" rtl="0" eaLnBrk="1" latinLnBrk="0" hangingPunct="1">
              <a:lnSpc>
                <a:spcPct val="100000"/>
              </a:lnSpc>
              <a:spcBef>
                <a:spcPts val="300"/>
              </a:spcBef>
              <a:spcAft>
                <a:spcPts val="600"/>
              </a:spcAft>
              <a:buClr>
                <a:schemeClr val="tx2"/>
              </a:buClr>
              <a:buSzPct val="100000"/>
              <a:buFont typeface="Aptos" panose="020B0004020202020204" pitchFamily="34" charset="0"/>
              <a:buChar char="•"/>
              <a:defRPr sz="1600" i="0" kern="1200">
                <a:solidFill>
                  <a:schemeClr val="tx2"/>
                </a:solidFill>
                <a:latin typeface="+mn-lt"/>
                <a:ea typeface="+mn-ea"/>
                <a:cs typeface="+mn-cs"/>
              </a:defRPr>
            </a:lvl2pPr>
            <a:lvl3pPr marL="0" indent="0" algn="l" defTabSz="719138" rtl="0" eaLnBrk="1" latinLnBrk="0" hangingPunct="1">
              <a:lnSpc>
                <a:spcPct val="100000"/>
              </a:lnSpc>
              <a:spcBef>
                <a:spcPts val="300"/>
              </a:spcBef>
              <a:spcAft>
                <a:spcPts val="600"/>
              </a:spcAft>
              <a:buClr>
                <a:srgbClr val="0070C0"/>
              </a:buClr>
              <a:buSzPct val="85000"/>
              <a:buFont typeface="Aptos" panose="020B0004020202020204" pitchFamily="34" charset="0"/>
              <a:buNone/>
              <a:defRPr sz="1600" i="0" kern="1200">
                <a:solidFill>
                  <a:schemeClr val="tx2"/>
                </a:solidFill>
                <a:latin typeface="+mn-lt"/>
                <a:ea typeface="+mn-ea"/>
                <a:cs typeface="+mn-cs"/>
              </a:defRPr>
            </a:lvl3pPr>
            <a:lvl4pPr marL="0" indent="0" algn="l" defTabSz="719138" rtl="0" eaLnBrk="1" latinLnBrk="0" hangingPunct="1">
              <a:lnSpc>
                <a:spcPct val="100000"/>
              </a:lnSpc>
              <a:spcBef>
                <a:spcPts val="300"/>
              </a:spcBef>
              <a:spcAft>
                <a:spcPts val="1200"/>
              </a:spcAft>
              <a:buFont typeface="Aptos" panose="020B0004020202020204" pitchFamily="34" charset="0"/>
              <a:buNone/>
              <a:defRPr sz="2000" b="0" kern="1200" cap="none" spc="0" baseline="0">
                <a:solidFill>
                  <a:schemeClr val="tx2"/>
                </a:solidFill>
                <a:latin typeface="+mj-lt"/>
                <a:ea typeface="+mn-ea"/>
                <a:cs typeface="+mn-cs"/>
              </a:defRPr>
            </a:lvl4pPr>
            <a:lvl5pPr marL="0" indent="0" algn="l" defTabSz="719138" rtl="0" eaLnBrk="1" latinLnBrk="0" hangingPunct="1">
              <a:lnSpc>
                <a:spcPct val="100000"/>
              </a:lnSpc>
              <a:spcBef>
                <a:spcPts val="300"/>
              </a:spcBef>
              <a:spcAft>
                <a:spcPts val="600"/>
              </a:spcAft>
              <a:buClr>
                <a:schemeClr val="tx2"/>
              </a:buClr>
              <a:buFont typeface="+mj-lt"/>
              <a:buNone/>
              <a:defRPr sz="1600" b="1" i="0" kern="1200">
                <a:solidFill>
                  <a:schemeClr val="tx2"/>
                </a:solidFill>
                <a:latin typeface="+mn-lt"/>
                <a:ea typeface="+mn-ea"/>
                <a:cs typeface="+mn-cs"/>
              </a:defRPr>
            </a:lvl5pPr>
            <a:lvl6pPr marL="222250" indent="-222250" algn="l" defTabSz="914400" rtl="0" eaLnBrk="1" latinLnBrk="0" hangingPunct="1">
              <a:lnSpc>
                <a:spcPct val="100000"/>
              </a:lnSpc>
              <a:spcBef>
                <a:spcPts val="300"/>
              </a:spcBef>
              <a:spcAft>
                <a:spcPts val="600"/>
              </a:spcAft>
              <a:buFont typeface="+mj-lt"/>
              <a:buAutoNum type="arabicPeriod"/>
              <a:defRPr sz="1600" b="0" i="0" kern="1200">
                <a:solidFill>
                  <a:schemeClr val="tx2"/>
                </a:solidFill>
                <a:latin typeface="+mn-lt"/>
                <a:ea typeface="+mn-ea"/>
                <a:cs typeface="+mn-cs"/>
              </a:defRPr>
            </a:lvl6pPr>
            <a:lvl7pPr marL="479425" indent="-261938" algn="l" defTabSz="914400" rtl="0" eaLnBrk="1" latinLnBrk="0" hangingPunct="1">
              <a:lnSpc>
                <a:spcPct val="100000"/>
              </a:lnSpc>
              <a:spcBef>
                <a:spcPts val="300"/>
              </a:spcBef>
              <a:spcAft>
                <a:spcPts val="600"/>
              </a:spcAft>
              <a:buFont typeface="+mj-lt"/>
              <a:buAutoNum type="alphaUcPeriod"/>
              <a:defRPr sz="1600" b="0" i="0" kern="1200">
                <a:solidFill>
                  <a:schemeClr val="tx2"/>
                </a:solidFill>
                <a:latin typeface="+mn-lt"/>
                <a:ea typeface="+mn-ea"/>
                <a:cs typeface="+mn-cs"/>
              </a:defRPr>
            </a:lvl7pPr>
            <a:lvl8pPr marL="0" indent="0" algn="l" defTabSz="914400" rtl="0" eaLnBrk="1" latinLnBrk="0" hangingPunct="1">
              <a:lnSpc>
                <a:spcPct val="90000"/>
              </a:lnSpc>
              <a:spcBef>
                <a:spcPts val="300"/>
              </a:spcBef>
              <a:spcAft>
                <a:spcPts val="600"/>
              </a:spcAft>
              <a:buFont typeface="Aptos" panose="020B0004020202020204" pitchFamily="34" charset="0"/>
              <a:buNone/>
              <a:defRPr sz="2800" i="1" kern="1200">
                <a:solidFill>
                  <a:schemeClr val="accent3"/>
                </a:solidFill>
                <a:latin typeface="+mj-lt"/>
                <a:ea typeface="+mn-ea"/>
                <a:cs typeface="+mn-cs"/>
              </a:defRPr>
            </a:lvl8pPr>
            <a:lvl9pPr marL="0" indent="0" algn="l" defTabSz="914400" rtl="0" eaLnBrk="1" latinLnBrk="0" hangingPunct="1">
              <a:lnSpc>
                <a:spcPct val="100000"/>
              </a:lnSpc>
              <a:spcBef>
                <a:spcPts val="300"/>
              </a:spcBef>
              <a:spcAft>
                <a:spcPts val="1200"/>
              </a:spcAft>
              <a:buFont typeface="Aptos" panose="020B0004020202020204" pitchFamily="34" charset="0"/>
              <a:buNone/>
              <a:defRPr sz="1200" b="0" kern="1200">
                <a:solidFill>
                  <a:schemeClr val="bg2">
                    <a:lumMod val="75000"/>
                  </a:schemeClr>
                </a:solidFill>
                <a:latin typeface="+mn-lt"/>
                <a:ea typeface="+mn-ea"/>
                <a:cs typeface="+mn-cs"/>
              </a:defRPr>
            </a:lvl9pPr>
          </a:lstStyle>
          <a:p>
            <a:pPr marL="0" marR="0" lvl="0" indent="0" algn="l" defTabSz="719138" rtl="0" eaLnBrk="1" fontAlgn="auto" latinLnBrk="0" hangingPunct="1">
              <a:lnSpc>
                <a:spcPct val="100000"/>
              </a:lnSpc>
              <a:spcBef>
                <a:spcPts val="300"/>
              </a:spcBef>
              <a:spcAft>
                <a:spcPts val="600"/>
              </a:spcAft>
              <a:buClr>
                <a:srgbClr val="070809"/>
              </a:buClr>
              <a:buSzPct val="100000"/>
              <a:buFont typeface="Aptos" panose="020B0004020202020204" pitchFamily="34" charset="0"/>
              <a:buNone/>
              <a:tabLst/>
              <a:defRPr/>
            </a:pPr>
            <a:r>
              <a:rPr kumimoji="0" lang="en-GB" sz="100" b="0" i="0" u="none" strike="noStrike" kern="1200" cap="none" spc="0" normalizeH="0" baseline="0" noProof="0">
                <a:ln>
                  <a:noFill/>
                </a:ln>
                <a:solidFill>
                  <a:srgbClr val="070809">
                    <a:lumMod val="75000"/>
                    <a:alpha val="0"/>
                  </a:srgbClr>
                </a:solidFill>
                <a:effectLst/>
                <a:uLnTx/>
                <a:uFillTx/>
                <a:latin typeface="Aptos" panose="020B0004020202020204" pitchFamily="34" charset="0"/>
                <a:ea typeface="+mn-ea"/>
                <a:cs typeface="+mn-cs"/>
              </a:rPr>
              <a:t> </a:t>
            </a:r>
          </a:p>
        </p:txBody>
      </p:sp>
      <p:sp>
        <p:nvSpPr>
          <p:cNvPr id="26" name="Tekstvak 25">
            <a:extLst>
              <a:ext uri="{FF2B5EF4-FFF2-40B4-BE49-F238E27FC236}">
                <a16:creationId xmlns:a16="http://schemas.microsoft.com/office/drawing/2014/main" id="{BE980A11-AF93-5E5A-8764-B34DD66316E0}"/>
              </a:ext>
            </a:extLst>
          </p:cNvPr>
          <p:cNvSpPr txBox="1"/>
          <p:nvPr/>
        </p:nvSpPr>
        <p:spPr>
          <a:xfrm>
            <a:off x="8407642" y="5344754"/>
            <a:ext cx="2847634" cy="424317"/>
          </a:xfrm>
          <a:prstGeom prst="rect">
            <a:avLst/>
          </a:prstGeom>
          <a:noFill/>
        </p:spPr>
        <p:txBody>
          <a:bodyPr wrap="square" lIns="0" tIns="0" rIns="0" bIns="0" rtlCol="0" anchor="t">
            <a:noAutofit/>
          </a:bodyPr>
          <a:lstStyle/>
          <a:p>
            <a:pPr>
              <a:defRPr/>
            </a:pPr>
            <a:r>
              <a:rPr lang="en-GB" sz="2200" err="1">
                <a:solidFill>
                  <a:srgbClr val="FFFFFF"/>
                </a:solidFill>
              </a:rPr>
              <a:t>Whats</a:t>
            </a:r>
            <a:r>
              <a:rPr lang="en-GB" sz="2200">
                <a:solidFill>
                  <a:srgbClr val="FFFFFF"/>
                </a:solidFill>
              </a:rPr>
              <a:t> Next</a:t>
            </a:r>
            <a:endParaRPr lang="en-GB" sz="2200">
              <a:solidFill>
                <a:srgbClr val="000000"/>
              </a:solidFill>
            </a:endParaRPr>
          </a:p>
          <a:p>
            <a:pPr>
              <a:lnSpc>
                <a:spcPct val="80000"/>
              </a:lnSpc>
              <a:defRPr/>
            </a:pPr>
            <a:endParaRPr lang="en-GB" sz="2200">
              <a:solidFill>
                <a:srgbClr val="FFFFFF"/>
              </a:solidFill>
            </a:endParaRPr>
          </a:p>
        </p:txBody>
      </p:sp>
      <p:sp>
        <p:nvSpPr>
          <p:cNvPr id="27" name="Tekstvak 26">
            <a:extLst>
              <a:ext uri="{FF2B5EF4-FFF2-40B4-BE49-F238E27FC236}">
                <a16:creationId xmlns:a16="http://schemas.microsoft.com/office/drawing/2014/main" id="{12BC11EB-8B37-28C0-61DF-E9D76CD04C0C}"/>
              </a:ext>
            </a:extLst>
          </p:cNvPr>
          <p:cNvSpPr txBox="1"/>
          <p:nvPr/>
        </p:nvSpPr>
        <p:spPr>
          <a:xfrm>
            <a:off x="8419197" y="4727026"/>
            <a:ext cx="1159683" cy="4243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a:ln>
                  <a:noFill/>
                </a:ln>
                <a:solidFill>
                  <a:srgbClr val="FFFFFF"/>
                </a:solidFill>
                <a:effectLst/>
                <a:uLnTx/>
                <a:uFillTx/>
                <a:latin typeface="+mj-lt"/>
                <a:ea typeface="+mn-ea"/>
                <a:cs typeface="+mn-cs"/>
              </a:rPr>
              <a:t>06</a:t>
            </a:r>
            <a:endParaRPr kumimoji="0" lang="en-GB" sz="6600" b="1" i="0" u="none" strike="noStrike" kern="1200" cap="none" spc="0" normalizeH="0" baseline="0" noProof="0">
              <a:ln>
                <a:noFill/>
              </a:ln>
              <a:solidFill>
                <a:srgbClr val="FFFFFF"/>
              </a:solidFill>
              <a:effectLst/>
              <a:uLnTx/>
              <a:uFillTx/>
              <a:latin typeface="+mj-lt"/>
              <a:ea typeface="+mn-ea"/>
              <a:cs typeface="+mn-cs"/>
            </a:endParaRPr>
          </a:p>
        </p:txBody>
      </p:sp>
    </p:spTree>
    <p:extLst>
      <p:ext uri="{BB962C8B-B14F-4D97-AF65-F5344CB8AC3E}">
        <p14:creationId xmlns:p14="http://schemas.microsoft.com/office/powerpoint/2010/main" val="414583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A34FCD-0A8E-EA84-5A78-C2513F944BBA}"/>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4C17B063-5148-E0F2-ABF9-0F830FCDBA64}"/>
              </a:ext>
            </a:extLst>
          </p:cNvPr>
          <p:cNvSpPr>
            <a:spLocks noGrp="1"/>
          </p:cNvSpPr>
          <p:nvPr>
            <p:ph type="title"/>
          </p:nvPr>
        </p:nvSpPr>
        <p:spPr/>
        <p:txBody>
          <a:bodyPr/>
          <a:lstStyle/>
          <a:p>
            <a:r>
              <a:rPr lang="en-GB"/>
              <a:t>Chapter blue</a:t>
            </a:r>
          </a:p>
        </p:txBody>
      </p:sp>
      <p:sp>
        <p:nvSpPr>
          <p:cNvPr id="6" name="Tijdelijke aanduiding voor tekst 10">
            <a:extLst>
              <a:ext uri="{FF2B5EF4-FFF2-40B4-BE49-F238E27FC236}">
                <a16:creationId xmlns:a16="http://schemas.microsoft.com/office/drawing/2014/main" id="{4EDB01A6-C8F2-90D7-FB32-D8831A19F265}"/>
              </a:ext>
            </a:extLst>
          </p:cNvPr>
          <p:cNvSpPr txBox="1">
            <a:spLocks/>
          </p:cNvSpPr>
          <p:nvPr/>
        </p:nvSpPr>
        <p:spPr>
          <a:xfrm>
            <a:off x="193040" y="216852"/>
            <a:ext cx="11805920" cy="6424295"/>
          </a:xfrm>
          <a:prstGeom prst="roundRect">
            <a:avLst>
              <a:gd name="adj" fmla="val 3563"/>
            </a:avLst>
          </a:prstGeom>
          <a:solidFill>
            <a:schemeClr val="accent3"/>
          </a:solidFill>
        </p:spPr>
        <p:txBody>
          <a:bodyPr wrap="square">
            <a:noAutofit/>
          </a:bodyPr>
          <a:lstStyle>
            <a:lvl1pPr marL="0" indent="0" algn="l" defTabSz="914400" rtl="0" eaLnBrk="1" latinLnBrk="0" hangingPunct="1">
              <a:lnSpc>
                <a:spcPct val="90000"/>
              </a:lnSpc>
              <a:spcBef>
                <a:spcPts val="600"/>
              </a:spcBef>
              <a:spcAft>
                <a:spcPts val="600"/>
              </a:spcAft>
              <a:buClr>
                <a:schemeClr val="accent1"/>
              </a:buClr>
              <a:buSzPct val="110000"/>
              <a:buFont typeface="Aptos" panose="020B0004020202020204" pitchFamily="34" charset="0"/>
              <a:buNone/>
              <a:defRPr sz="100" kern="1200">
                <a:solidFill>
                  <a:schemeClr val="tx1"/>
                </a:solidFill>
                <a:latin typeface="+mn-lt"/>
                <a:ea typeface="+mn-ea"/>
                <a:cs typeface="+mn-cs"/>
              </a:defRPr>
            </a:lvl1pPr>
            <a:lvl2pPr marL="355600" indent="-177800" algn="l" defTabSz="914400" rtl="0" eaLnBrk="1" latinLnBrk="0" hangingPunct="1">
              <a:lnSpc>
                <a:spcPct val="90000"/>
              </a:lnSpc>
              <a:spcBef>
                <a:spcPts val="600"/>
              </a:spcBef>
              <a:spcAft>
                <a:spcPts val="600"/>
              </a:spcAft>
              <a:buClr>
                <a:schemeClr val="tx2"/>
              </a:buClr>
              <a:buFont typeface="Aptos" panose="020B0004020202020204" pitchFamily="34" charset="0"/>
              <a:buChar char="•"/>
              <a:tabLst/>
              <a:defRPr sz="1600" kern="1200">
                <a:solidFill>
                  <a:schemeClr val="tx1"/>
                </a:solidFill>
                <a:latin typeface="+mn-lt"/>
                <a:ea typeface="+mn-ea"/>
                <a:cs typeface="+mn-cs"/>
              </a:defRPr>
            </a:lvl2pPr>
            <a:lvl3pPr marL="531813" indent="-176213"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1600" kern="1200">
                <a:solidFill>
                  <a:schemeClr val="tx1"/>
                </a:solidFill>
                <a:latin typeface="+mn-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5"/>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2"/>
                </a:solidFill>
                <a:latin typeface="+mj-lt"/>
                <a:ea typeface="+mn-ea"/>
                <a:cs typeface="+mn-cs"/>
              </a:defRPr>
            </a:lvl6pPr>
            <a:lvl7pPr marL="342900" indent="-342900" algn="l" defTabSz="914400" rtl="0" eaLnBrk="1" latinLnBrk="0" hangingPunct="1">
              <a:lnSpc>
                <a:spcPct val="90000"/>
              </a:lnSpc>
              <a:spcBef>
                <a:spcPts val="600"/>
              </a:spcBef>
              <a:spcAft>
                <a:spcPts val="600"/>
              </a:spcAft>
              <a:buClr>
                <a:schemeClr val="tx2"/>
              </a:buClr>
              <a:buFont typeface="+mj-lt"/>
              <a:buAutoNum type="arabicPeriod"/>
              <a:tabLst/>
              <a:defRPr sz="1600" kern="1200">
                <a:solidFill>
                  <a:schemeClr val="tx1"/>
                </a:solidFill>
                <a:latin typeface="+mn-lt"/>
                <a:ea typeface="+mn-ea"/>
                <a:cs typeface="+mn-cs"/>
              </a:defRPr>
            </a:lvl7pPr>
            <a:lvl8pPr marL="342900" indent="-342900" algn="l" defTabSz="914400" rtl="0" eaLnBrk="1" latinLnBrk="0" hangingPunct="1">
              <a:lnSpc>
                <a:spcPct val="90000"/>
              </a:lnSpc>
              <a:spcBef>
                <a:spcPts val="600"/>
              </a:spcBef>
              <a:spcAft>
                <a:spcPts val="600"/>
              </a:spcAft>
              <a:buClr>
                <a:schemeClr val="tx2"/>
              </a:buClr>
              <a:buFont typeface="+mj-lt"/>
              <a:buAutoNum type="alphaLcPeriod"/>
              <a:defRPr sz="1600" kern="1200">
                <a:solidFill>
                  <a:schemeClr val="tx1"/>
                </a:solidFill>
                <a:latin typeface="+mn-lt"/>
                <a:ea typeface="+mn-ea"/>
                <a:cs typeface="+mn-cs"/>
              </a:defRPr>
            </a:lvl8pPr>
            <a:lvl9pPr marL="541338" indent="-180975"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F6DA44"/>
              </a:buClr>
              <a:buSzPct val="110000"/>
              <a:buFont typeface="Aptos" panose="020B0004020202020204" pitchFamily="34" charset="0"/>
              <a:buNone/>
              <a:tabLst/>
              <a:defRPr/>
            </a:pPr>
            <a:r>
              <a:rPr kumimoji="0" lang="en-GB" sz="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p>
        </p:txBody>
      </p:sp>
      <p:sp>
        <p:nvSpPr>
          <p:cNvPr id="10" name="Tekstvak 9">
            <a:extLst>
              <a:ext uri="{FF2B5EF4-FFF2-40B4-BE49-F238E27FC236}">
                <a16:creationId xmlns:a16="http://schemas.microsoft.com/office/drawing/2014/main" id="{A84E9CF8-A721-0242-43FD-5EDEB017B741}"/>
              </a:ext>
            </a:extLst>
          </p:cNvPr>
          <p:cNvSpPr txBox="1"/>
          <p:nvPr/>
        </p:nvSpPr>
        <p:spPr>
          <a:xfrm>
            <a:off x="902979" y="2987073"/>
            <a:ext cx="9495938" cy="940292"/>
          </a:xfrm>
          <a:prstGeom prst="rect">
            <a:avLst/>
          </a:prstGeom>
          <a:noFill/>
        </p:spPr>
        <p:txBody>
          <a:bodyPr wrap="square" lIns="0" tIns="0" rIns="0" bIns="0" rtlCol="0" anchor="b">
            <a:noAutofit/>
          </a:bodyPr>
          <a:lstStyle/>
          <a:p>
            <a:pPr>
              <a:lnSpc>
                <a:spcPct val="80000"/>
              </a:lnSpc>
              <a:defRPr/>
            </a:pPr>
            <a:r>
              <a:rPr lang="en-GB" sz="6600" b="1">
                <a:solidFill>
                  <a:srgbClr val="FFFFFF"/>
                </a:solidFill>
              </a:rPr>
              <a:t>What is EuroTeQ?</a:t>
            </a:r>
            <a:endParaRPr lang="nl-NL">
              <a:ea typeface="+mn-ea"/>
              <a:cs typeface="+mn-cs"/>
            </a:endParaRPr>
          </a:p>
        </p:txBody>
      </p:sp>
      <p:sp>
        <p:nvSpPr>
          <p:cNvPr id="11" name="Tijdelijke aanduiding voor tekst 12">
            <a:extLst>
              <a:ext uri="{FF2B5EF4-FFF2-40B4-BE49-F238E27FC236}">
                <a16:creationId xmlns:a16="http://schemas.microsoft.com/office/drawing/2014/main" id="{24A63747-80C5-70A1-2756-5399B431364E}"/>
              </a:ext>
            </a:extLst>
          </p:cNvPr>
          <p:cNvSpPr txBox="1">
            <a:spLocks/>
          </p:cNvSpPr>
          <p:nvPr/>
        </p:nvSpPr>
        <p:spPr>
          <a:xfrm>
            <a:off x="708207" y="3123000"/>
            <a:ext cx="36000" cy="612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lgn="l" defTabSz="914400" rtl="0" eaLnBrk="1" latinLnBrk="0" hangingPunct="1">
              <a:lnSpc>
                <a:spcPct val="90000"/>
              </a:lnSpc>
              <a:spcBef>
                <a:spcPts val="600"/>
              </a:spcBef>
              <a:spcAft>
                <a:spcPts val="600"/>
              </a:spcAft>
              <a:buClr>
                <a:schemeClr val="accent4"/>
              </a:buClr>
              <a:buSzPct val="100000"/>
              <a:buFontTx/>
              <a:buNone/>
              <a:defRPr sz="100" kern="1200">
                <a:solidFill>
                  <a:schemeClr val="tx1"/>
                </a:solidFill>
                <a:latin typeface="+mn-lt"/>
                <a:ea typeface="+mn-ea"/>
                <a:cs typeface="+mn-cs"/>
              </a:defRPr>
            </a:lvl1pPr>
            <a:lvl2pPr marL="0" indent="0" algn="l" defTabSz="914400" rtl="0" eaLnBrk="1" latinLnBrk="0" hangingPunct="1">
              <a:lnSpc>
                <a:spcPct val="90000"/>
              </a:lnSpc>
              <a:spcBef>
                <a:spcPts val="600"/>
              </a:spcBef>
              <a:spcAft>
                <a:spcPts val="600"/>
              </a:spcAft>
              <a:buClr>
                <a:schemeClr val="tx2"/>
              </a:buClr>
              <a:buFont typeface="Aptos" panose="020B0004020202020204" pitchFamily="34" charset="0"/>
              <a:buNone/>
              <a:tabLst/>
              <a:defRPr sz="1600" kern="1200">
                <a:solidFill>
                  <a:schemeClr val="tx1"/>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tx2"/>
              </a:buClr>
              <a:buFontTx/>
              <a:buNone/>
              <a:defRPr sz="2000" b="1" kern="1200">
                <a:solidFill>
                  <a:schemeClr val="accent3"/>
                </a:solidFill>
                <a:latin typeface="+mj-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2"/>
                </a:solidFill>
                <a:latin typeface="+mj-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4"/>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5"/>
                </a:solidFill>
                <a:latin typeface="+mj-lt"/>
                <a:ea typeface="+mn-ea"/>
                <a:cs typeface="+mn-cs"/>
              </a:defRPr>
            </a:lvl6pPr>
            <a:lvl7pPr marL="0" indent="0" algn="l" defTabSz="914400" rtl="0" eaLnBrk="1" latinLnBrk="0" hangingPunct="1">
              <a:lnSpc>
                <a:spcPct val="90000"/>
              </a:lnSpc>
              <a:spcBef>
                <a:spcPts val="600"/>
              </a:spcBef>
              <a:spcAft>
                <a:spcPts val="600"/>
              </a:spcAft>
              <a:buClr>
                <a:schemeClr val="tx2"/>
              </a:buClr>
              <a:buFontTx/>
              <a:buNone/>
              <a:tabLst/>
              <a:defRPr sz="1400" b="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Clr>
                <a:schemeClr val="tx2"/>
              </a:buClr>
              <a:buFontTx/>
              <a:buNone/>
              <a:defRPr sz="1800" b="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tx2"/>
              </a:buClr>
              <a:buFontTx/>
              <a:buNone/>
              <a:tabLst/>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E7303A"/>
              </a:buClr>
              <a:buSzPct val="100000"/>
              <a:buFontTx/>
              <a:buNone/>
              <a:tabLst/>
              <a:defRPr/>
            </a:pPr>
            <a:r>
              <a:rPr kumimoji="0" lang="en-GB" sz="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p>
        </p:txBody>
      </p:sp>
      <p:sp>
        <p:nvSpPr>
          <p:cNvPr id="15" name="Tijdelijke aanduiding voor tekst 15">
            <a:extLst>
              <a:ext uri="{FF2B5EF4-FFF2-40B4-BE49-F238E27FC236}">
                <a16:creationId xmlns:a16="http://schemas.microsoft.com/office/drawing/2014/main" id="{DC38376A-2025-D6CF-4E3A-E78F903FB228}"/>
              </a:ext>
            </a:extLst>
          </p:cNvPr>
          <p:cNvSpPr txBox="1">
            <a:spLocks/>
          </p:cNvSpPr>
          <p:nvPr/>
        </p:nvSpPr>
        <p:spPr>
          <a:xfrm>
            <a:off x="720000" y="6060536"/>
            <a:ext cx="932400" cy="475200"/>
          </a:xfrm>
          <a:prstGeom prst="rect">
            <a:avLst/>
          </a:prstGeom>
          <a:blipFill>
            <a:blip r:embed="rId3"/>
            <a:stretch>
              <a:fillRect/>
            </a:stretch>
          </a:blipFill>
        </p:spPr>
        <p:txBody>
          <a:bodyPr/>
          <a:lstStyle>
            <a:lvl1pPr marL="0" indent="0" algn="l" defTabSz="914400" rtl="0" eaLnBrk="1" latinLnBrk="0" hangingPunct="1">
              <a:lnSpc>
                <a:spcPct val="90000"/>
              </a:lnSpc>
              <a:spcBef>
                <a:spcPts val="600"/>
              </a:spcBef>
              <a:spcAft>
                <a:spcPts val="600"/>
              </a:spcAft>
              <a:buClr>
                <a:schemeClr val="accent4"/>
              </a:buClr>
              <a:buSzPct val="100000"/>
              <a:buFontTx/>
              <a:buNone/>
              <a:defRPr sz="100" kern="1200">
                <a:solidFill>
                  <a:schemeClr val="tx1"/>
                </a:solidFill>
                <a:latin typeface="+mn-lt"/>
                <a:ea typeface="+mn-ea"/>
                <a:cs typeface="+mn-cs"/>
              </a:defRPr>
            </a:lvl1pPr>
            <a:lvl2pPr marL="0" indent="0" algn="l" defTabSz="914400" rtl="0" eaLnBrk="1" latinLnBrk="0" hangingPunct="1">
              <a:lnSpc>
                <a:spcPct val="90000"/>
              </a:lnSpc>
              <a:spcBef>
                <a:spcPts val="600"/>
              </a:spcBef>
              <a:spcAft>
                <a:spcPts val="600"/>
              </a:spcAft>
              <a:buClr>
                <a:schemeClr val="tx2"/>
              </a:buClr>
              <a:buFont typeface="Aptos" panose="020B0004020202020204" pitchFamily="34" charset="0"/>
              <a:buNone/>
              <a:tabLst/>
              <a:defRPr sz="1600" kern="1200">
                <a:solidFill>
                  <a:schemeClr val="tx1"/>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tx2"/>
              </a:buClr>
              <a:buFontTx/>
              <a:buNone/>
              <a:defRPr sz="2000" b="1" kern="1200">
                <a:solidFill>
                  <a:schemeClr val="accent3"/>
                </a:solidFill>
                <a:latin typeface="+mj-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2"/>
                </a:solidFill>
                <a:latin typeface="+mj-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4"/>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5"/>
                </a:solidFill>
                <a:latin typeface="+mj-lt"/>
                <a:ea typeface="+mn-ea"/>
                <a:cs typeface="+mn-cs"/>
              </a:defRPr>
            </a:lvl6pPr>
            <a:lvl7pPr marL="0" indent="0" algn="l" defTabSz="914400" rtl="0" eaLnBrk="1" latinLnBrk="0" hangingPunct="1">
              <a:lnSpc>
                <a:spcPct val="90000"/>
              </a:lnSpc>
              <a:spcBef>
                <a:spcPts val="600"/>
              </a:spcBef>
              <a:spcAft>
                <a:spcPts val="600"/>
              </a:spcAft>
              <a:buClr>
                <a:schemeClr val="tx2"/>
              </a:buClr>
              <a:buFontTx/>
              <a:buNone/>
              <a:tabLst/>
              <a:defRPr sz="1400" b="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Clr>
                <a:schemeClr val="tx2"/>
              </a:buClr>
              <a:buFontTx/>
              <a:buNone/>
              <a:defRPr sz="1800" b="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tx2"/>
              </a:buClr>
              <a:buFontTx/>
              <a:buNone/>
              <a:tabLst/>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E7303A"/>
              </a:buClr>
              <a:buSzPct val="100000"/>
              <a:buFontTx/>
              <a:buNone/>
              <a:tabLst/>
              <a:defRPr/>
            </a:pPr>
            <a:r>
              <a:rPr kumimoji="0" lang="en-GB" sz="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p>
        </p:txBody>
      </p:sp>
    </p:spTree>
    <p:extLst>
      <p:ext uri="{BB962C8B-B14F-4D97-AF65-F5344CB8AC3E}">
        <p14:creationId xmlns:p14="http://schemas.microsoft.com/office/powerpoint/2010/main" val="418303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Tijdelijke aanduiding voor afbeelding 17" descr="Afbeelding met vloer&#10;&#10;Automatisch gegenereerde beschrijving">
            <a:extLst>
              <a:ext uri="{FF2B5EF4-FFF2-40B4-BE49-F238E27FC236}">
                <a16:creationId xmlns:a16="http://schemas.microsoft.com/office/drawing/2014/main" id="{DAFD20F0-487D-E385-1A97-FFF0B49289F3}"/>
              </a:ext>
            </a:extLst>
          </p:cNvPr>
          <p:cNvPicPr>
            <a:picLocks noGrp="1" noChangeAspect="1"/>
          </p:cNvPicPr>
          <p:nvPr>
            <p:ph type="pic" sz="quarter" idx="19"/>
          </p:nvPr>
        </p:nvPicPr>
        <p:blipFill rotWithShape="1">
          <a:blip r:embed="rId2" cstate="screen">
            <a:extLst>
              <a:ext uri="{28A0092B-C50C-407E-A947-70E740481C1C}">
                <a14:useLocalDpi xmlns:a14="http://schemas.microsoft.com/office/drawing/2010/main"/>
              </a:ext>
            </a:extLst>
          </a:blip>
          <a:srcRect t="1687" b="1687"/>
          <a:stretch/>
        </p:blipFill>
        <p:spPr>
          <a:xfrm>
            <a:off x="8562975" y="722313"/>
            <a:ext cx="2900363" cy="5083175"/>
          </a:xfrm>
        </p:spPr>
      </p:pic>
      <p:sp>
        <p:nvSpPr>
          <p:cNvPr id="2" name="Tijdelijke aanduiding voor tekst 1">
            <a:extLst>
              <a:ext uri="{FF2B5EF4-FFF2-40B4-BE49-F238E27FC236}">
                <a16:creationId xmlns:a16="http://schemas.microsoft.com/office/drawing/2014/main" id="{4FA1636C-EEB1-3008-DA50-2AAFC7E50152}"/>
              </a:ext>
            </a:extLst>
          </p:cNvPr>
          <p:cNvSpPr>
            <a:spLocks noGrp="1"/>
          </p:cNvSpPr>
          <p:nvPr>
            <p:ph type="body" sz="quarter" idx="14"/>
          </p:nvPr>
        </p:nvSpPr>
        <p:spPr/>
        <p:txBody>
          <a:bodyPr/>
          <a:lstStyle/>
          <a:p>
            <a:r>
              <a:rPr lang="nl-NL"/>
              <a:t> </a:t>
            </a:r>
          </a:p>
        </p:txBody>
      </p:sp>
      <p:sp>
        <p:nvSpPr>
          <p:cNvPr id="3" name="Tijdelijke aanduiding voor tekst 2">
            <a:extLst>
              <a:ext uri="{FF2B5EF4-FFF2-40B4-BE49-F238E27FC236}">
                <a16:creationId xmlns:a16="http://schemas.microsoft.com/office/drawing/2014/main" id="{DE5521D9-64A5-E6A4-E9C0-0E2CE7A8AADF}"/>
              </a:ext>
            </a:extLst>
          </p:cNvPr>
          <p:cNvSpPr>
            <a:spLocks noGrp="1"/>
          </p:cNvSpPr>
          <p:nvPr>
            <p:ph type="body" sz="quarter" idx="18"/>
          </p:nvPr>
        </p:nvSpPr>
        <p:spPr/>
        <p:txBody>
          <a:bodyPr/>
          <a:lstStyle/>
          <a:p>
            <a:r>
              <a:rPr lang="nl-NL"/>
              <a:t> </a:t>
            </a:r>
          </a:p>
        </p:txBody>
      </p:sp>
      <p:sp>
        <p:nvSpPr>
          <p:cNvPr id="4" name="Titel 3">
            <a:extLst>
              <a:ext uri="{FF2B5EF4-FFF2-40B4-BE49-F238E27FC236}">
                <a16:creationId xmlns:a16="http://schemas.microsoft.com/office/drawing/2014/main" id="{D58A85F2-E838-CC79-B15F-F39332B13D5A}"/>
              </a:ext>
            </a:extLst>
          </p:cNvPr>
          <p:cNvSpPr>
            <a:spLocks noGrp="1"/>
          </p:cNvSpPr>
          <p:nvPr>
            <p:ph type="title"/>
          </p:nvPr>
        </p:nvSpPr>
        <p:spPr/>
        <p:txBody>
          <a:bodyPr/>
          <a:lstStyle/>
          <a:p>
            <a:r>
              <a:rPr lang="en-GB"/>
              <a:t>What is EuroTeQ?</a:t>
            </a:r>
            <a:endParaRPr lang="nl-NL" err="1"/>
          </a:p>
        </p:txBody>
      </p:sp>
      <p:pic>
        <p:nvPicPr>
          <p:cNvPr id="7" name="Content Placeholder 6">
            <a:extLst>
              <a:ext uri="{FF2B5EF4-FFF2-40B4-BE49-F238E27FC236}">
                <a16:creationId xmlns:a16="http://schemas.microsoft.com/office/drawing/2014/main" id="{1A738D7C-9803-C3E2-245E-BAE5370B1ABB}"/>
              </a:ext>
            </a:extLst>
          </p:cNvPr>
          <p:cNvPicPr>
            <a:picLocks noGrp="1" noChangeAspect="1"/>
          </p:cNvPicPr>
          <p:nvPr>
            <p:ph idx="21"/>
          </p:nvPr>
        </p:nvPicPr>
        <p:blipFill>
          <a:blip r:embed="rId3"/>
          <a:stretch>
            <a:fillRect/>
          </a:stretch>
        </p:blipFill>
        <p:spPr>
          <a:xfrm>
            <a:off x="988021" y="2506734"/>
            <a:ext cx="7095285" cy="3549100"/>
          </a:xfrm>
        </p:spPr>
      </p:pic>
      <p:sp>
        <p:nvSpPr>
          <p:cNvPr id="10" name="Tijdelijke aanduiding voor inhoud 8">
            <a:extLst>
              <a:ext uri="{FF2B5EF4-FFF2-40B4-BE49-F238E27FC236}">
                <a16:creationId xmlns:a16="http://schemas.microsoft.com/office/drawing/2014/main" id="{565ED771-3EDB-7AF7-8E8A-42BC75DF283E}"/>
              </a:ext>
            </a:extLst>
          </p:cNvPr>
          <p:cNvSpPr txBox="1">
            <a:spLocks/>
          </p:cNvSpPr>
          <p:nvPr/>
        </p:nvSpPr>
        <p:spPr>
          <a:xfrm>
            <a:off x="720000" y="1474333"/>
            <a:ext cx="7488000" cy="4213945"/>
          </a:xfrm>
          <a:prstGeom prst="rect">
            <a:avLst/>
          </a:prstGeom>
        </p:spPr>
        <p:txBody>
          <a:bodyPr vert="horz" lIns="0" tIns="0" rIns="0" bIns="0" rtlCol="0" anchor="t">
            <a:noAutofit/>
          </a:bodyPr>
          <a:lstStyle>
            <a:lvl1pPr marL="2857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defRPr sz="1800" kern="1200">
                <a:solidFill>
                  <a:schemeClr val="tx1"/>
                </a:solidFill>
                <a:latin typeface="+mn-lt"/>
                <a:ea typeface="+mn-ea"/>
                <a:cs typeface="+mn-cs"/>
              </a:defRPr>
            </a:lvl1pPr>
            <a:lvl2pPr marL="444500" indent="-266700" algn="l" defTabSz="914400" rtl="0" eaLnBrk="1" latinLnBrk="0" hangingPunct="1">
              <a:lnSpc>
                <a:spcPct val="90000"/>
              </a:lnSpc>
              <a:spcBef>
                <a:spcPts val="600"/>
              </a:spcBef>
              <a:spcAft>
                <a:spcPts val="600"/>
              </a:spcAft>
              <a:buClr>
                <a:schemeClr val="tx2"/>
              </a:buClr>
              <a:buFont typeface="Arial" panose="020B0604020202020204" pitchFamily="34" charset="0"/>
              <a:buChar char="•"/>
              <a:tabLst/>
              <a:defRPr sz="1600" kern="1200">
                <a:solidFill>
                  <a:schemeClr val="tx1"/>
                </a:solidFill>
                <a:latin typeface="+mn-lt"/>
                <a:ea typeface="+mn-ea"/>
                <a:cs typeface="+mn-cs"/>
              </a:defRPr>
            </a:lvl2pPr>
            <a:lvl3pPr marL="622300" indent="-266700"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600" b="0" kern="1200">
                <a:solidFill>
                  <a:schemeClr val="tx1"/>
                </a:solidFill>
                <a:latin typeface="+mj-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1600" b="0" kern="1200">
                <a:solidFill>
                  <a:schemeClr val="tx1"/>
                </a:solidFill>
                <a:latin typeface="+mj-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1"/>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4"/>
                </a:solidFill>
                <a:latin typeface="+mj-lt"/>
                <a:ea typeface="+mn-ea"/>
                <a:cs typeface="+mn-cs"/>
              </a:defRPr>
            </a:lvl6pPr>
            <a:lvl7pPr marL="342900" indent="-342900" algn="l" defTabSz="914400" rtl="0" eaLnBrk="1" latinLnBrk="0" hangingPunct="1">
              <a:lnSpc>
                <a:spcPct val="90000"/>
              </a:lnSpc>
              <a:spcBef>
                <a:spcPts val="600"/>
              </a:spcBef>
              <a:spcAft>
                <a:spcPts val="600"/>
              </a:spcAft>
              <a:buClr>
                <a:schemeClr val="accent1"/>
              </a:buClr>
              <a:buFont typeface="+mj-lt"/>
              <a:buAutoNum type="arabicPeriod"/>
              <a:tabLst/>
              <a:defRPr sz="1800" b="0" kern="1200">
                <a:solidFill>
                  <a:schemeClr val="tx1"/>
                </a:solidFill>
                <a:latin typeface="+mn-lt"/>
                <a:ea typeface="+mn-ea"/>
                <a:cs typeface="+mn-cs"/>
              </a:defRPr>
            </a:lvl7pPr>
            <a:lvl8pPr marL="342900" indent="-342900" algn="l" defTabSz="914400" rtl="0" eaLnBrk="1" latinLnBrk="0" hangingPunct="1">
              <a:lnSpc>
                <a:spcPct val="90000"/>
              </a:lnSpc>
              <a:spcBef>
                <a:spcPts val="600"/>
              </a:spcBef>
              <a:spcAft>
                <a:spcPts val="600"/>
              </a:spcAft>
              <a:buClr>
                <a:schemeClr val="accent1"/>
              </a:buClr>
              <a:buFont typeface="+mj-lt"/>
              <a:buAutoNum type="alphaLcPeriod"/>
              <a:defRPr sz="1800" b="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tx2"/>
              </a:buClr>
              <a:buFontTx/>
              <a:buNone/>
              <a:tabLst/>
              <a:defRPr sz="1200" i="1" kern="1200">
                <a:solidFill>
                  <a:schemeClr val="accent3"/>
                </a:solidFill>
                <a:latin typeface="+mn-lt"/>
                <a:ea typeface="+mn-ea"/>
                <a:cs typeface="+mn-cs"/>
              </a:defRPr>
            </a:lvl9pPr>
          </a:lstStyle>
          <a:p>
            <a:pPr algn="l">
              <a:buNone/>
            </a:pPr>
            <a:r>
              <a:rPr lang="en-US" sz="2000" b="0" i="0">
                <a:solidFill>
                  <a:srgbClr val="7A7A7A"/>
                </a:solidFill>
                <a:effectLst/>
                <a:latin typeface="Open Sans" panose="020B0606030504020204" pitchFamily="34" charset="0"/>
              </a:rPr>
              <a:t>A European University Alliance formed of leading universities of science and technology, spread across Europe, situated in innovation eco-systems and with great collaboration experience. </a:t>
            </a:r>
          </a:p>
        </p:txBody>
      </p:sp>
    </p:spTree>
    <p:extLst>
      <p:ext uri="{BB962C8B-B14F-4D97-AF65-F5344CB8AC3E}">
        <p14:creationId xmlns:p14="http://schemas.microsoft.com/office/powerpoint/2010/main" val="173434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3" name="Object 2"/>
          <p:cNvGraphicFramePr>
            <a:graphicFrameLocks noChangeAspect="1"/>
          </p:cNvGraphicFramePr>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oleObj" r:id="rId2" imgW="635" imgH="635" progId="TCLayout.ActiveDocument.1">
                  <p:embed/>
                </p:oleObj>
              </mc:Choice>
              <mc:Fallback>
                <p:oleObj name="oleObj" r:id="rId2" imgW="635" imgH="635" progId="TCLayout.ActiveDocument.1">
                  <p:embed/>
                  <p:pic>
                    <p:nvPicPr>
                      <p:cNvPr id="3" name="Object 2"/>
                      <p:cNvPicPr/>
                      <p:nvPr/>
                    </p:nvPicPr>
                    <p:blipFill>
                      <a:blip r:embed="rId3"/>
                      <a:stretch/>
                    </p:blipFill>
                    <p:spPr bwMode="auto">
                      <a:xfrm>
                        <a:off x="1587" y="1587"/>
                        <a:ext cx="1587" cy="1587"/>
                      </a:xfrm>
                      <a:prstGeom prst="rect">
                        <a:avLst/>
                      </a:prstGeom>
                    </p:spPr>
                  </p:pic>
                </p:oleObj>
              </mc:Fallback>
            </mc:AlternateContent>
          </a:graphicData>
        </a:graphic>
      </p:graphicFrame>
      <p:pic>
        <p:nvPicPr>
          <p:cNvPr id="14" name="Picture 2">
            <a:extLst>
              <a:ext uri="{FF2B5EF4-FFF2-40B4-BE49-F238E27FC236}">
                <a16:creationId xmlns:a16="http://schemas.microsoft.com/office/drawing/2014/main" id="{5BD1E404-2460-5FFD-EE2D-B111E0395F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77753" y="-306"/>
            <a:ext cx="8036493" cy="64866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04857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E5134F-F311-6440-3E65-A3780442F526}"/>
            </a:ext>
          </a:extLst>
        </p:cNvPr>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98A6C6AF-0EC2-5E74-29E8-7EBDC789C4F2}"/>
              </a:ext>
            </a:extLst>
          </p:cNvPr>
          <p:cNvSpPr>
            <a:spLocks noGrp="1"/>
          </p:cNvSpPr>
          <p:nvPr>
            <p:ph type="body" sz="quarter" idx="14"/>
          </p:nvPr>
        </p:nvSpPr>
        <p:spPr/>
        <p:txBody>
          <a:bodyPr/>
          <a:lstStyle/>
          <a:p>
            <a:r>
              <a:rPr lang="nl-NL"/>
              <a:t> </a:t>
            </a:r>
          </a:p>
        </p:txBody>
      </p:sp>
      <p:sp>
        <p:nvSpPr>
          <p:cNvPr id="3" name="Tijdelijke aanduiding voor tekst 2">
            <a:extLst>
              <a:ext uri="{FF2B5EF4-FFF2-40B4-BE49-F238E27FC236}">
                <a16:creationId xmlns:a16="http://schemas.microsoft.com/office/drawing/2014/main" id="{58906063-2F9D-2E46-B774-5E8842D61DF2}"/>
              </a:ext>
            </a:extLst>
          </p:cNvPr>
          <p:cNvSpPr>
            <a:spLocks noGrp="1"/>
          </p:cNvSpPr>
          <p:nvPr>
            <p:ph type="body" sz="quarter" idx="18"/>
          </p:nvPr>
        </p:nvSpPr>
        <p:spPr/>
        <p:txBody>
          <a:bodyPr/>
          <a:lstStyle/>
          <a:p>
            <a:r>
              <a:rPr lang="nl-NL"/>
              <a:t> </a:t>
            </a:r>
          </a:p>
        </p:txBody>
      </p:sp>
      <p:sp>
        <p:nvSpPr>
          <p:cNvPr id="4" name="Titel 3">
            <a:extLst>
              <a:ext uri="{FF2B5EF4-FFF2-40B4-BE49-F238E27FC236}">
                <a16:creationId xmlns:a16="http://schemas.microsoft.com/office/drawing/2014/main" id="{2AD30245-B0B8-F12F-CD58-994565C02D65}"/>
              </a:ext>
            </a:extLst>
          </p:cNvPr>
          <p:cNvSpPr>
            <a:spLocks noGrp="1"/>
          </p:cNvSpPr>
          <p:nvPr>
            <p:ph type="title"/>
          </p:nvPr>
        </p:nvSpPr>
        <p:spPr/>
        <p:txBody>
          <a:bodyPr/>
          <a:lstStyle/>
          <a:p>
            <a:r>
              <a:rPr lang="en-GB"/>
              <a:t>What is EuroTeQ?</a:t>
            </a:r>
            <a:endParaRPr lang="nl-NL" err="1"/>
          </a:p>
        </p:txBody>
      </p:sp>
      <p:sp>
        <p:nvSpPr>
          <p:cNvPr id="6" name="Tijdelijke aanduiding voor tekst 5">
            <a:extLst>
              <a:ext uri="{FF2B5EF4-FFF2-40B4-BE49-F238E27FC236}">
                <a16:creationId xmlns:a16="http://schemas.microsoft.com/office/drawing/2014/main" id="{389B2E24-2341-50FD-04B7-04BA47BD71FD}"/>
              </a:ext>
            </a:extLst>
          </p:cNvPr>
          <p:cNvSpPr>
            <a:spLocks noGrp="1"/>
          </p:cNvSpPr>
          <p:nvPr>
            <p:ph type="body" sz="quarter" idx="20"/>
          </p:nvPr>
        </p:nvSpPr>
        <p:spPr/>
        <p:txBody>
          <a:bodyPr/>
          <a:lstStyle/>
          <a:p>
            <a:endParaRPr lang="nl-NL"/>
          </a:p>
        </p:txBody>
      </p:sp>
      <p:sp>
        <p:nvSpPr>
          <p:cNvPr id="10" name="Tijdelijke aanduiding voor inhoud 8">
            <a:extLst>
              <a:ext uri="{FF2B5EF4-FFF2-40B4-BE49-F238E27FC236}">
                <a16:creationId xmlns:a16="http://schemas.microsoft.com/office/drawing/2014/main" id="{65ED995B-AFA4-8B9A-FC4E-10AA70063901}"/>
              </a:ext>
            </a:extLst>
          </p:cNvPr>
          <p:cNvSpPr txBox="1">
            <a:spLocks/>
          </p:cNvSpPr>
          <p:nvPr/>
        </p:nvSpPr>
        <p:spPr>
          <a:xfrm>
            <a:off x="719999" y="1474333"/>
            <a:ext cx="7694599" cy="4213945"/>
          </a:xfrm>
          <a:prstGeom prst="rect">
            <a:avLst/>
          </a:prstGeom>
        </p:spPr>
        <p:txBody>
          <a:bodyPr vert="horz" lIns="0" tIns="0" rIns="0" bIns="0" rtlCol="0" anchor="t">
            <a:noAutofit/>
          </a:bodyPr>
          <a:lstStyle>
            <a:lvl1pPr marL="2857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defRPr sz="1800" kern="1200">
                <a:solidFill>
                  <a:schemeClr val="tx1"/>
                </a:solidFill>
                <a:latin typeface="+mn-lt"/>
                <a:ea typeface="+mn-ea"/>
                <a:cs typeface="+mn-cs"/>
              </a:defRPr>
            </a:lvl1pPr>
            <a:lvl2pPr marL="444500" indent="-266700" algn="l" defTabSz="914400" rtl="0" eaLnBrk="1" latinLnBrk="0" hangingPunct="1">
              <a:lnSpc>
                <a:spcPct val="90000"/>
              </a:lnSpc>
              <a:spcBef>
                <a:spcPts val="600"/>
              </a:spcBef>
              <a:spcAft>
                <a:spcPts val="600"/>
              </a:spcAft>
              <a:buClr>
                <a:schemeClr val="tx2"/>
              </a:buClr>
              <a:buFont typeface="Arial" panose="020B0604020202020204" pitchFamily="34" charset="0"/>
              <a:buChar char="•"/>
              <a:tabLst/>
              <a:defRPr sz="1600" kern="1200">
                <a:solidFill>
                  <a:schemeClr val="tx1"/>
                </a:solidFill>
                <a:latin typeface="+mn-lt"/>
                <a:ea typeface="+mn-ea"/>
                <a:cs typeface="+mn-cs"/>
              </a:defRPr>
            </a:lvl2pPr>
            <a:lvl3pPr marL="622300" indent="-266700"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600" b="0" kern="1200">
                <a:solidFill>
                  <a:schemeClr val="tx1"/>
                </a:solidFill>
                <a:latin typeface="+mj-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1600" b="0" kern="1200">
                <a:solidFill>
                  <a:schemeClr val="tx1"/>
                </a:solidFill>
                <a:latin typeface="+mj-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1"/>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4"/>
                </a:solidFill>
                <a:latin typeface="+mj-lt"/>
                <a:ea typeface="+mn-ea"/>
                <a:cs typeface="+mn-cs"/>
              </a:defRPr>
            </a:lvl6pPr>
            <a:lvl7pPr marL="342900" indent="-342900" algn="l" defTabSz="914400" rtl="0" eaLnBrk="1" latinLnBrk="0" hangingPunct="1">
              <a:lnSpc>
                <a:spcPct val="90000"/>
              </a:lnSpc>
              <a:spcBef>
                <a:spcPts val="600"/>
              </a:spcBef>
              <a:spcAft>
                <a:spcPts val="600"/>
              </a:spcAft>
              <a:buClr>
                <a:schemeClr val="accent1"/>
              </a:buClr>
              <a:buFont typeface="+mj-lt"/>
              <a:buAutoNum type="arabicPeriod"/>
              <a:tabLst/>
              <a:defRPr sz="1800" b="0" kern="1200">
                <a:solidFill>
                  <a:schemeClr val="tx1"/>
                </a:solidFill>
                <a:latin typeface="+mn-lt"/>
                <a:ea typeface="+mn-ea"/>
                <a:cs typeface="+mn-cs"/>
              </a:defRPr>
            </a:lvl7pPr>
            <a:lvl8pPr marL="342900" indent="-342900" algn="l" defTabSz="914400" rtl="0" eaLnBrk="1" latinLnBrk="0" hangingPunct="1">
              <a:lnSpc>
                <a:spcPct val="90000"/>
              </a:lnSpc>
              <a:spcBef>
                <a:spcPts val="600"/>
              </a:spcBef>
              <a:spcAft>
                <a:spcPts val="600"/>
              </a:spcAft>
              <a:buClr>
                <a:schemeClr val="accent1"/>
              </a:buClr>
              <a:buFont typeface="+mj-lt"/>
              <a:buAutoNum type="alphaLcPeriod"/>
              <a:defRPr sz="1800" b="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tx2"/>
              </a:buClr>
              <a:buFontTx/>
              <a:buNone/>
              <a:tabLst/>
              <a:defRPr sz="1200" i="1" kern="1200">
                <a:solidFill>
                  <a:schemeClr val="accent3"/>
                </a:solidFill>
                <a:latin typeface="+mn-lt"/>
                <a:ea typeface="+mn-ea"/>
                <a:cs typeface="+mn-cs"/>
              </a:defRPr>
            </a:lvl9pPr>
          </a:lstStyle>
          <a:p>
            <a:pPr algn="l">
              <a:buNone/>
            </a:pPr>
            <a:r>
              <a:rPr lang="en-US" sz="2000" b="0" i="0">
                <a:effectLst/>
                <a:latin typeface="Open Sans" panose="020B0606030504020204" pitchFamily="34" charset="0"/>
              </a:rPr>
              <a:t>One of EuroTeQ’s five core activities is:</a:t>
            </a:r>
          </a:p>
          <a:p>
            <a:pPr algn="l"/>
            <a:r>
              <a:rPr lang="en-US" sz="2000" b="0" i="0" u="sng">
                <a:effectLst/>
                <a:latin typeface="Open Sans" panose="020B0606030504020204" pitchFamily="34" charset="0"/>
              </a:rPr>
              <a:t>Building the </a:t>
            </a:r>
            <a:r>
              <a:rPr lang="en-US" sz="2000" b="1" i="0" u="sng">
                <a:effectLst/>
                <a:latin typeface="Open Sans" panose="020B0606030504020204" pitchFamily="34" charset="0"/>
              </a:rPr>
              <a:t>EuroTeQ Campus</a:t>
            </a:r>
            <a:r>
              <a:rPr lang="en-US" sz="2000" b="0" i="0">
                <a:effectLst/>
                <a:latin typeface="Open Sans" panose="020B0606030504020204" pitchFamily="34" charset="0"/>
              </a:rPr>
              <a:t>, a platform for open education, delivering high-quality research-led teaching to a peer group of over 115,000 students. Our graduates will have intercultural and multilingual competences, an entrepreneurial mindset, think and act responsibly and be ready to lead a competitive and sustainable Europe into the future.</a:t>
            </a:r>
          </a:p>
        </p:txBody>
      </p:sp>
      <p:grpSp>
        <p:nvGrpSpPr>
          <p:cNvPr id="11" name="Group 10">
            <a:extLst>
              <a:ext uri="{FF2B5EF4-FFF2-40B4-BE49-F238E27FC236}">
                <a16:creationId xmlns:a16="http://schemas.microsoft.com/office/drawing/2014/main" id="{2B339B01-5B56-FE8E-FDC3-A3FBC18C9ED1}"/>
              </a:ext>
            </a:extLst>
          </p:cNvPr>
          <p:cNvGrpSpPr/>
          <p:nvPr/>
        </p:nvGrpSpPr>
        <p:grpSpPr>
          <a:xfrm>
            <a:off x="8979391" y="1143000"/>
            <a:ext cx="2294503" cy="2286000"/>
            <a:chOff x="7369629" y="1992086"/>
            <a:chExt cx="2294503" cy="2286000"/>
          </a:xfrm>
        </p:grpSpPr>
        <p:sp>
          <p:nvSpPr>
            <p:cNvPr id="12" name="TextBox 11">
              <a:extLst>
                <a:ext uri="{FF2B5EF4-FFF2-40B4-BE49-F238E27FC236}">
                  <a16:creationId xmlns:a16="http://schemas.microsoft.com/office/drawing/2014/main" id="{412D0FE3-261F-4C1E-DD06-270CBE7F1670}"/>
                </a:ext>
              </a:extLst>
            </p:cNvPr>
            <p:cNvSpPr txBox="1"/>
            <p:nvPr/>
          </p:nvSpPr>
          <p:spPr>
            <a:xfrm>
              <a:off x="7629284" y="2171344"/>
              <a:ext cx="1795244" cy="1938992"/>
            </a:xfrm>
            <a:prstGeom prst="rect">
              <a:avLst/>
            </a:prstGeom>
            <a:noFill/>
            <a:ln w="3175">
              <a:noFill/>
            </a:ln>
          </p:spPr>
          <p:txBody>
            <a:bodyPr wrap="square" lIns="0" tIns="0" rIns="0" bIns="0" rtlCol="0" anchor="ctr">
              <a:spAutoFit/>
            </a:bodyPr>
            <a:lstStyle/>
            <a:p>
              <a:pPr algn="ctr"/>
              <a:r>
                <a:rPr lang="en-US" b="1"/>
                <a:t>Ambitious mobility goal: 50% of our graduates shall have a </a:t>
              </a:r>
              <a:r>
                <a:rPr lang="en-US" b="1" err="1"/>
                <a:t>EuroteQ</a:t>
              </a:r>
              <a:r>
                <a:rPr lang="en-US" b="1"/>
                <a:t> experience in 2030</a:t>
              </a:r>
              <a:endParaRPr lang="en-NL" b="1"/>
            </a:p>
          </p:txBody>
        </p:sp>
        <p:sp>
          <p:nvSpPr>
            <p:cNvPr id="13" name="Rectangle: Rounded Corners 12">
              <a:extLst>
                <a:ext uri="{FF2B5EF4-FFF2-40B4-BE49-F238E27FC236}">
                  <a16:creationId xmlns:a16="http://schemas.microsoft.com/office/drawing/2014/main" id="{78D3CEE1-3CF2-BD68-068E-1F39C4BB823D}"/>
                </a:ext>
              </a:extLst>
            </p:cNvPr>
            <p:cNvSpPr/>
            <p:nvPr/>
          </p:nvSpPr>
          <p:spPr>
            <a:xfrm>
              <a:off x="7369629" y="1992086"/>
              <a:ext cx="2294503" cy="2286000"/>
            </a:xfrm>
            <a:prstGeom prst="roundRect">
              <a:avLst/>
            </a:prstGeom>
            <a:noFill/>
            <a:ln w="508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7" name="Picture Placeholder 16">
            <a:extLst>
              <a:ext uri="{FF2B5EF4-FFF2-40B4-BE49-F238E27FC236}">
                <a16:creationId xmlns:a16="http://schemas.microsoft.com/office/drawing/2014/main" id="{F67A0C0F-5B24-1C84-9798-2A3604D35E77}"/>
              </a:ext>
            </a:extLst>
          </p:cNvPr>
          <p:cNvPicPr>
            <a:picLocks noGrp="1" noChangeAspect="1"/>
          </p:cNvPicPr>
          <p:nvPr>
            <p:ph type="pic" sz="quarter" idx="19"/>
          </p:nvPr>
        </p:nvPicPr>
        <p:blipFill>
          <a:blip r:embed="rId2">
            <a:extLst>
              <a:ext uri="{28A0092B-C50C-407E-A947-70E740481C1C}">
                <a14:useLocalDpi xmlns:a14="http://schemas.microsoft.com/office/drawing/2010/main" val="0"/>
              </a:ext>
            </a:extLst>
          </a:blip>
          <a:srcRect t="22669" b="22669"/>
          <a:stretch/>
        </p:blipFill>
        <p:spPr>
          <a:xfrm>
            <a:off x="865162" y="3799538"/>
            <a:ext cx="10447519" cy="2157002"/>
          </a:xfrm>
        </p:spPr>
      </p:pic>
    </p:spTree>
    <p:extLst>
      <p:ext uri="{BB962C8B-B14F-4D97-AF65-F5344CB8AC3E}">
        <p14:creationId xmlns:p14="http://schemas.microsoft.com/office/powerpoint/2010/main" val="3991027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161FCB-A759-30D9-BAC2-41DB09615ED1}"/>
            </a:ext>
          </a:extLst>
        </p:cNvPr>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18D22874-F0E6-FDE8-5B36-73B48079E19D}"/>
              </a:ext>
            </a:extLst>
          </p:cNvPr>
          <p:cNvSpPr>
            <a:spLocks noGrp="1"/>
          </p:cNvSpPr>
          <p:nvPr>
            <p:ph type="body" sz="quarter" idx="14"/>
          </p:nvPr>
        </p:nvSpPr>
        <p:spPr/>
        <p:txBody>
          <a:bodyPr/>
          <a:lstStyle/>
          <a:p>
            <a:r>
              <a:rPr lang="nl-NL"/>
              <a:t> </a:t>
            </a:r>
          </a:p>
        </p:txBody>
      </p:sp>
      <p:sp>
        <p:nvSpPr>
          <p:cNvPr id="3" name="Tijdelijke aanduiding voor tekst 2">
            <a:extLst>
              <a:ext uri="{FF2B5EF4-FFF2-40B4-BE49-F238E27FC236}">
                <a16:creationId xmlns:a16="http://schemas.microsoft.com/office/drawing/2014/main" id="{47997D47-F3DF-C1F6-FE8D-A40AE0109412}"/>
              </a:ext>
            </a:extLst>
          </p:cNvPr>
          <p:cNvSpPr>
            <a:spLocks noGrp="1"/>
          </p:cNvSpPr>
          <p:nvPr>
            <p:ph type="body" sz="quarter" idx="18"/>
          </p:nvPr>
        </p:nvSpPr>
        <p:spPr/>
        <p:txBody>
          <a:bodyPr/>
          <a:lstStyle/>
          <a:p>
            <a:r>
              <a:rPr lang="nl-NL"/>
              <a:t> </a:t>
            </a:r>
          </a:p>
        </p:txBody>
      </p:sp>
      <p:sp>
        <p:nvSpPr>
          <p:cNvPr id="13" name="Titel 4">
            <a:extLst>
              <a:ext uri="{FF2B5EF4-FFF2-40B4-BE49-F238E27FC236}">
                <a16:creationId xmlns:a16="http://schemas.microsoft.com/office/drawing/2014/main" id="{9D557E39-5BDA-553C-8B2E-956F9AED6976}"/>
              </a:ext>
            </a:extLst>
          </p:cNvPr>
          <p:cNvSpPr>
            <a:spLocks noGrp="1"/>
          </p:cNvSpPr>
          <p:nvPr/>
        </p:nvSpPr>
        <p:spPr>
          <a:xfrm>
            <a:off x="865163" y="105456"/>
            <a:ext cx="10606838" cy="342211"/>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400" b="1" kern="1200">
                <a:solidFill>
                  <a:schemeClr val="tx1"/>
                </a:solidFill>
                <a:latin typeface="+mj-lt"/>
                <a:ea typeface="+mj-ea"/>
                <a:cs typeface="+mj-cs"/>
              </a:defRPr>
            </a:lvl1pPr>
          </a:lstStyle>
          <a:p>
            <a:endParaRPr lang="en-US">
              <a:latin typeface="Roboto" panose="02000000000000000000" pitchFamily="2" charset="0"/>
              <a:ea typeface="Roboto" panose="02000000000000000000" pitchFamily="2" charset="0"/>
              <a:cs typeface="Roboto" panose="02000000000000000000" pitchFamily="2" charset="0"/>
            </a:endParaRPr>
          </a:p>
        </p:txBody>
      </p:sp>
      <p:sp>
        <p:nvSpPr>
          <p:cNvPr id="14" name="Rechteck 4">
            <a:extLst>
              <a:ext uri="{FF2B5EF4-FFF2-40B4-BE49-F238E27FC236}">
                <a16:creationId xmlns:a16="http://schemas.microsoft.com/office/drawing/2014/main" id="{135E63E9-654C-3021-EB84-FE25C02CDE9A}"/>
              </a:ext>
            </a:extLst>
          </p:cNvPr>
          <p:cNvSpPr/>
          <p:nvPr/>
        </p:nvSpPr>
        <p:spPr>
          <a:xfrm flipH="1">
            <a:off x="720000" y="1993480"/>
            <a:ext cx="4988868" cy="1225977"/>
          </a:xfrm>
          <a:custGeom>
            <a:avLst/>
            <a:gdLst>
              <a:gd name="connsiteX0" fmla="*/ 0 w 11668125"/>
              <a:gd name="connsiteY0" fmla="*/ 0 h 3606800"/>
              <a:gd name="connsiteX1" fmla="*/ 11668125 w 11668125"/>
              <a:gd name="connsiteY1" fmla="*/ 0 h 3606800"/>
              <a:gd name="connsiteX2" fmla="*/ 11668125 w 11668125"/>
              <a:gd name="connsiteY2" fmla="*/ 3606800 h 3606800"/>
              <a:gd name="connsiteX3" fmla="*/ 0 w 11668125"/>
              <a:gd name="connsiteY3" fmla="*/ 3606800 h 3606800"/>
              <a:gd name="connsiteX4" fmla="*/ 0 w 11668125"/>
              <a:gd name="connsiteY4" fmla="*/ 0 h 3606800"/>
              <a:gd name="connsiteX0" fmla="*/ 11668125 w 11759565"/>
              <a:gd name="connsiteY0" fmla="*/ 3606800 h 3698240"/>
              <a:gd name="connsiteX1" fmla="*/ 0 w 11759565"/>
              <a:gd name="connsiteY1" fmla="*/ 3606800 h 3698240"/>
              <a:gd name="connsiteX2" fmla="*/ 0 w 11759565"/>
              <a:gd name="connsiteY2" fmla="*/ 0 h 3698240"/>
              <a:gd name="connsiteX3" fmla="*/ 11668125 w 11759565"/>
              <a:gd name="connsiteY3" fmla="*/ 0 h 3698240"/>
              <a:gd name="connsiteX4" fmla="*/ 11759565 w 11759565"/>
              <a:gd name="connsiteY4" fmla="*/ 3698240 h 3698240"/>
              <a:gd name="connsiteX0" fmla="*/ 11668125 w 11668125"/>
              <a:gd name="connsiteY0" fmla="*/ 3606800 h 3606800"/>
              <a:gd name="connsiteX1" fmla="*/ 0 w 11668125"/>
              <a:gd name="connsiteY1" fmla="*/ 3606800 h 3606800"/>
              <a:gd name="connsiteX2" fmla="*/ 0 w 11668125"/>
              <a:gd name="connsiteY2" fmla="*/ 0 h 3606800"/>
              <a:gd name="connsiteX3" fmla="*/ 11668125 w 11668125"/>
              <a:gd name="connsiteY3" fmla="*/ 0 h 3606800"/>
            </a:gdLst>
            <a:ahLst/>
            <a:cxnLst>
              <a:cxn ang="0">
                <a:pos x="connsiteX0" y="connsiteY0"/>
              </a:cxn>
              <a:cxn ang="0">
                <a:pos x="connsiteX1" y="connsiteY1"/>
              </a:cxn>
              <a:cxn ang="0">
                <a:pos x="connsiteX2" y="connsiteY2"/>
              </a:cxn>
              <a:cxn ang="0">
                <a:pos x="connsiteX3" y="connsiteY3"/>
              </a:cxn>
            </a:cxnLst>
            <a:rect l="l" t="t" r="r" b="b"/>
            <a:pathLst>
              <a:path w="11668125" h="3606800">
                <a:moveTo>
                  <a:pt x="11668125" y="3606800"/>
                </a:moveTo>
                <a:lnTo>
                  <a:pt x="0" y="3606800"/>
                </a:lnTo>
                <a:lnTo>
                  <a:pt x="0" y="0"/>
                </a:lnTo>
                <a:lnTo>
                  <a:pt x="11668125" y="0"/>
                </a:lnTo>
              </a:path>
            </a:pathLst>
          </a:cu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800"/>
              </a:spcAft>
              <a:buClr>
                <a:srgbClr val="484848">
                  <a:lumMod val="60000"/>
                  <a:lumOff val="40000"/>
                </a:srgbClr>
              </a:buClr>
              <a:buSzTx/>
              <a:buFont typeface="Symbol" panose="05050102010706020507" pitchFamily="18" charset="2"/>
              <a:buNone/>
              <a:tabLst/>
              <a:defRPr/>
            </a:pPr>
            <a:endParaRPr lang="en-GB" sz="2000">
              <a:solidFill>
                <a:schemeClr val="bg2"/>
              </a:solidFill>
              <a:latin typeface="Roboto" panose="02000000000000000000" pitchFamily="2" charset="0"/>
              <a:ea typeface="Roboto" panose="02000000000000000000" pitchFamily="2" charset="0"/>
              <a:cs typeface="Roboto" panose="02000000000000000000" pitchFamily="2" charset="0"/>
              <a:sym typeface="Arial" panose="020B0604020202020204" pitchFamily="34" charset="0"/>
            </a:endParaRPr>
          </a:p>
          <a:p>
            <a:pPr lvl="0">
              <a:lnSpc>
                <a:spcPct val="110000"/>
              </a:lnSpc>
              <a:spcAft>
                <a:spcPts val="1800"/>
              </a:spcAft>
              <a:buClr>
                <a:srgbClr val="484848">
                  <a:lumMod val="60000"/>
                  <a:lumOff val="40000"/>
                </a:srgbClr>
              </a:buClr>
              <a:defRPr/>
            </a:pPr>
            <a:r>
              <a:rPr lang="en-US" sz="2000">
                <a:solidFill>
                  <a:srgbClr val="C00000"/>
                </a:solidFill>
                <a:latin typeface="Roboto" panose="02000000000000000000" pitchFamily="2" charset="0"/>
                <a:ea typeface="Roboto" panose="02000000000000000000" pitchFamily="2" charset="0"/>
                <a:cs typeface="Roboto" panose="02000000000000000000" pitchFamily="2" charset="0"/>
                <a:sym typeface="Arial" panose="020B0604020202020204" pitchFamily="34" charset="0"/>
              </a:rPr>
              <a:t>Fostering </a:t>
            </a:r>
            <a:r>
              <a:rPr lang="en-US" sz="2000">
                <a:solidFill>
                  <a:schemeClr val="tx1"/>
                </a:solidFill>
                <a:latin typeface="Roboto" panose="02000000000000000000" pitchFamily="2" charset="0"/>
                <a:ea typeface="Roboto" panose="02000000000000000000" pitchFamily="2" charset="0"/>
                <a:cs typeface="Roboto" panose="02000000000000000000" pitchFamily="2" charset="0"/>
                <a:sym typeface="Arial" panose="020B0604020202020204" pitchFamily="34" charset="0"/>
              </a:rPr>
              <a:t>the student experience: </a:t>
            </a:r>
            <a:br>
              <a:rPr lang="en-US" sz="2000">
                <a:solidFill>
                  <a:schemeClr val="tx1"/>
                </a:solidFill>
                <a:latin typeface="Roboto" panose="02000000000000000000" pitchFamily="2" charset="0"/>
                <a:ea typeface="Roboto" panose="02000000000000000000" pitchFamily="2" charset="0"/>
                <a:cs typeface="Roboto" panose="02000000000000000000" pitchFamily="2" charset="0"/>
                <a:sym typeface="Arial" panose="020B0604020202020204" pitchFamily="34" charset="0"/>
              </a:rPr>
            </a:br>
            <a:r>
              <a:rPr lang="en-US" sz="2000">
                <a:solidFill>
                  <a:schemeClr val="tx1"/>
                </a:solidFill>
                <a:latin typeface="Roboto" panose="02000000000000000000" pitchFamily="2" charset="0"/>
                <a:ea typeface="Roboto" panose="02000000000000000000" pitchFamily="2" charset="0"/>
                <a:cs typeface="Roboto" panose="02000000000000000000" pitchFamily="2" charset="0"/>
                <a:sym typeface="Arial" panose="020B0604020202020204" pitchFamily="34" charset="0"/>
              </a:rPr>
              <a:t>'seamless student mobility</a:t>
            </a:r>
            <a:r>
              <a:rPr lang="en-US" sz="2000">
                <a:solidFill>
                  <a:schemeClr val="tx2"/>
                </a:solidFill>
                <a:latin typeface="Roboto" panose="02000000000000000000" pitchFamily="2" charset="0"/>
                <a:ea typeface="Roboto" panose="02000000000000000000" pitchFamily="2" charset="0"/>
                <a:cs typeface="Roboto" panose="02000000000000000000" pitchFamily="2" charset="0"/>
                <a:sym typeface="Arial" panose="020B0604020202020204" pitchFamily="34" charset="0"/>
              </a:rPr>
              <a:t>'</a:t>
            </a:r>
            <a:endParaRPr lang="en-GB" sz="2000">
              <a:solidFill>
                <a:schemeClr val="tx2"/>
              </a:solidFill>
              <a:latin typeface="Roboto" panose="02000000000000000000" pitchFamily="2" charset="0"/>
              <a:ea typeface="Roboto" panose="02000000000000000000" pitchFamily="2" charset="0"/>
              <a:cs typeface="Roboto" panose="02000000000000000000" pitchFamily="2" charset="0"/>
              <a:sym typeface="Arial" panose="020B0604020202020204" pitchFamily="34" charset="0"/>
            </a:endParaRPr>
          </a:p>
        </p:txBody>
      </p:sp>
      <p:sp>
        <p:nvSpPr>
          <p:cNvPr id="15" name="Rechteck 4">
            <a:extLst>
              <a:ext uri="{FF2B5EF4-FFF2-40B4-BE49-F238E27FC236}">
                <a16:creationId xmlns:a16="http://schemas.microsoft.com/office/drawing/2014/main" id="{A6DA2090-65B4-F609-2E0C-F736540EA392}"/>
              </a:ext>
            </a:extLst>
          </p:cNvPr>
          <p:cNvSpPr/>
          <p:nvPr/>
        </p:nvSpPr>
        <p:spPr>
          <a:xfrm flipH="1">
            <a:off x="5991592" y="1996183"/>
            <a:ext cx="5723809" cy="1225977"/>
          </a:xfrm>
          <a:custGeom>
            <a:avLst/>
            <a:gdLst>
              <a:gd name="connsiteX0" fmla="*/ 0 w 11668125"/>
              <a:gd name="connsiteY0" fmla="*/ 0 h 3606800"/>
              <a:gd name="connsiteX1" fmla="*/ 11668125 w 11668125"/>
              <a:gd name="connsiteY1" fmla="*/ 0 h 3606800"/>
              <a:gd name="connsiteX2" fmla="*/ 11668125 w 11668125"/>
              <a:gd name="connsiteY2" fmla="*/ 3606800 h 3606800"/>
              <a:gd name="connsiteX3" fmla="*/ 0 w 11668125"/>
              <a:gd name="connsiteY3" fmla="*/ 3606800 h 3606800"/>
              <a:gd name="connsiteX4" fmla="*/ 0 w 11668125"/>
              <a:gd name="connsiteY4" fmla="*/ 0 h 3606800"/>
              <a:gd name="connsiteX0" fmla="*/ 11668125 w 11759565"/>
              <a:gd name="connsiteY0" fmla="*/ 3606800 h 3698240"/>
              <a:gd name="connsiteX1" fmla="*/ 0 w 11759565"/>
              <a:gd name="connsiteY1" fmla="*/ 3606800 h 3698240"/>
              <a:gd name="connsiteX2" fmla="*/ 0 w 11759565"/>
              <a:gd name="connsiteY2" fmla="*/ 0 h 3698240"/>
              <a:gd name="connsiteX3" fmla="*/ 11668125 w 11759565"/>
              <a:gd name="connsiteY3" fmla="*/ 0 h 3698240"/>
              <a:gd name="connsiteX4" fmla="*/ 11759565 w 11759565"/>
              <a:gd name="connsiteY4" fmla="*/ 3698240 h 3698240"/>
              <a:gd name="connsiteX0" fmla="*/ 11668125 w 11668125"/>
              <a:gd name="connsiteY0" fmla="*/ 3606800 h 3606800"/>
              <a:gd name="connsiteX1" fmla="*/ 0 w 11668125"/>
              <a:gd name="connsiteY1" fmla="*/ 3606800 h 3606800"/>
              <a:gd name="connsiteX2" fmla="*/ 0 w 11668125"/>
              <a:gd name="connsiteY2" fmla="*/ 0 h 3606800"/>
              <a:gd name="connsiteX3" fmla="*/ 11668125 w 11668125"/>
              <a:gd name="connsiteY3" fmla="*/ 0 h 3606800"/>
            </a:gdLst>
            <a:ahLst/>
            <a:cxnLst>
              <a:cxn ang="0">
                <a:pos x="connsiteX0" y="connsiteY0"/>
              </a:cxn>
              <a:cxn ang="0">
                <a:pos x="connsiteX1" y="connsiteY1"/>
              </a:cxn>
              <a:cxn ang="0">
                <a:pos x="connsiteX2" y="connsiteY2"/>
              </a:cxn>
              <a:cxn ang="0">
                <a:pos x="connsiteX3" y="connsiteY3"/>
              </a:cxn>
            </a:cxnLst>
            <a:rect l="l" t="t" r="r" b="b"/>
            <a:pathLst>
              <a:path w="11668125" h="3606800">
                <a:moveTo>
                  <a:pt x="11668125" y="3606800"/>
                </a:moveTo>
                <a:lnTo>
                  <a:pt x="0" y="3606800"/>
                </a:lnTo>
                <a:lnTo>
                  <a:pt x="0" y="0"/>
                </a:lnTo>
                <a:lnTo>
                  <a:pt x="11668125" y="0"/>
                </a:lnTo>
              </a:path>
            </a:pathLst>
          </a:cu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800"/>
              </a:spcAft>
              <a:buClr>
                <a:srgbClr val="484848">
                  <a:lumMod val="60000"/>
                  <a:lumOff val="40000"/>
                </a:srgbClr>
              </a:buClr>
              <a:buSzTx/>
              <a:buFont typeface="Symbol" panose="05050102010706020507" pitchFamily="18" charset="2"/>
              <a:buNone/>
              <a:tabLst/>
              <a:defRPr/>
            </a:pPr>
            <a:endParaRPr lang="en-GB" sz="2000">
              <a:solidFill>
                <a:schemeClr val="bg2"/>
              </a:solidFill>
              <a:latin typeface="Roboto" panose="02000000000000000000" pitchFamily="2" charset="0"/>
              <a:ea typeface="Roboto" panose="02000000000000000000" pitchFamily="2" charset="0"/>
              <a:cs typeface="Roboto" panose="02000000000000000000" pitchFamily="2" charset="0"/>
              <a:sym typeface="Arial" panose="020B0604020202020204" pitchFamily="34" charset="0"/>
            </a:endParaRPr>
          </a:p>
          <a:p>
            <a:pPr lvl="0">
              <a:lnSpc>
                <a:spcPct val="110000"/>
              </a:lnSpc>
              <a:spcAft>
                <a:spcPts val="1800"/>
              </a:spcAft>
              <a:buClr>
                <a:srgbClr val="484848">
                  <a:lumMod val="60000"/>
                  <a:lumOff val="40000"/>
                </a:srgbClr>
              </a:buClr>
              <a:defRPr/>
            </a:pPr>
            <a:r>
              <a:rPr lang="en-US" sz="2000">
                <a:solidFill>
                  <a:srgbClr val="C00000"/>
                </a:solidFill>
                <a:latin typeface="Roboto" panose="02000000000000000000" pitchFamily="2" charset="0"/>
                <a:ea typeface="Roboto" panose="02000000000000000000" pitchFamily="2" charset="0"/>
                <a:cs typeface="Roboto" panose="02000000000000000000" pitchFamily="2" charset="0"/>
                <a:sym typeface="Arial" panose="020B0604020202020204" pitchFamily="34" charset="0"/>
              </a:rPr>
              <a:t>Growth </a:t>
            </a:r>
            <a:r>
              <a:rPr lang="en-US" sz="2000">
                <a:solidFill>
                  <a:schemeClr val="tx1"/>
                </a:solidFill>
                <a:latin typeface="Roboto" panose="02000000000000000000" pitchFamily="2" charset="0"/>
                <a:ea typeface="Roboto" panose="02000000000000000000" pitchFamily="2" charset="0"/>
                <a:cs typeface="Roboto" panose="02000000000000000000" pitchFamily="2" charset="0"/>
                <a:sym typeface="Arial" panose="020B0604020202020204" pitchFamily="34" charset="0"/>
              </a:rPr>
              <a:t>of the international campus – 50% of students study at another institution</a:t>
            </a:r>
            <a:endParaRPr lang="en-GB" sz="2000">
              <a:solidFill>
                <a:schemeClr val="tx1"/>
              </a:solidFill>
              <a:latin typeface="Roboto" panose="02000000000000000000" pitchFamily="2" charset="0"/>
              <a:ea typeface="Roboto" panose="02000000000000000000" pitchFamily="2" charset="0"/>
              <a:cs typeface="Roboto" panose="02000000000000000000" pitchFamily="2" charset="0"/>
              <a:sym typeface="Arial" panose="020B0604020202020204" pitchFamily="34" charset="0"/>
            </a:endParaRPr>
          </a:p>
        </p:txBody>
      </p:sp>
      <p:grpSp>
        <p:nvGrpSpPr>
          <p:cNvPr id="16" name="Group 5">
            <a:extLst>
              <a:ext uri="{FF2B5EF4-FFF2-40B4-BE49-F238E27FC236}">
                <a16:creationId xmlns:a16="http://schemas.microsoft.com/office/drawing/2014/main" id="{327051DF-911F-5B48-A1C3-3BDC84113617}"/>
              </a:ext>
            </a:extLst>
          </p:cNvPr>
          <p:cNvGrpSpPr/>
          <p:nvPr/>
        </p:nvGrpSpPr>
        <p:grpSpPr>
          <a:xfrm>
            <a:off x="706282" y="1481780"/>
            <a:ext cx="554729" cy="716400"/>
            <a:chOff x="706282" y="1481780"/>
            <a:chExt cx="554729" cy="716400"/>
          </a:xfrm>
        </p:grpSpPr>
        <p:grpSp>
          <p:nvGrpSpPr>
            <p:cNvPr id="82" name="Graphic 5">
              <a:extLst>
                <a:ext uri="{FF2B5EF4-FFF2-40B4-BE49-F238E27FC236}">
                  <a16:creationId xmlns:a16="http://schemas.microsoft.com/office/drawing/2014/main" id="{6D875AC7-3C78-4F74-0980-9E96E14141E3}"/>
                </a:ext>
              </a:extLst>
            </p:cNvPr>
            <p:cNvGrpSpPr/>
            <p:nvPr/>
          </p:nvGrpSpPr>
          <p:grpSpPr>
            <a:xfrm>
              <a:off x="861534" y="1503810"/>
              <a:ext cx="266362" cy="648142"/>
              <a:chOff x="861535" y="1503811"/>
              <a:chExt cx="208079" cy="506320"/>
            </a:xfrm>
            <a:solidFill>
              <a:schemeClr val="tx2"/>
            </a:solidFill>
          </p:grpSpPr>
          <p:sp>
            <p:nvSpPr>
              <p:cNvPr id="96" name="Freihandform: Form 405">
                <a:extLst>
                  <a:ext uri="{FF2B5EF4-FFF2-40B4-BE49-F238E27FC236}">
                    <a16:creationId xmlns:a16="http://schemas.microsoft.com/office/drawing/2014/main" id="{BE377FEC-71AE-3CC5-51F7-0D296C473C9D}"/>
                  </a:ext>
                </a:extLst>
              </p:cNvPr>
              <p:cNvSpPr/>
              <p:nvPr/>
            </p:nvSpPr>
            <p:spPr>
              <a:xfrm>
                <a:off x="896210" y="1732694"/>
                <a:ext cx="20807" cy="277437"/>
              </a:xfrm>
              <a:custGeom>
                <a:avLst/>
                <a:gdLst>
                  <a:gd name="connsiteX0" fmla="*/ 13871 w 20807"/>
                  <a:gd name="connsiteY0" fmla="*/ 277437 h 277437"/>
                  <a:gd name="connsiteX1" fmla="*/ 6936 w 20807"/>
                  <a:gd name="connsiteY1" fmla="*/ 270501 h 277437"/>
                  <a:gd name="connsiteX2" fmla="*/ 6936 w 20807"/>
                  <a:gd name="connsiteY2" fmla="*/ 13871 h 277437"/>
                  <a:gd name="connsiteX3" fmla="*/ 0 w 20807"/>
                  <a:gd name="connsiteY3" fmla="*/ 6936 h 277437"/>
                  <a:gd name="connsiteX4" fmla="*/ 6936 w 20807"/>
                  <a:gd name="connsiteY4" fmla="*/ 0 h 277437"/>
                  <a:gd name="connsiteX5" fmla="*/ 13871 w 20807"/>
                  <a:gd name="connsiteY5" fmla="*/ 0 h 277437"/>
                  <a:gd name="connsiteX6" fmla="*/ 20807 w 20807"/>
                  <a:gd name="connsiteY6" fmla="*/ 6936 h 277437"/>
                  <a:gd name="connsiteX7" fmla="*/ 20807 w 20807"/>
                  <a:gd name="connsiteY7" fmla="*/ 270501 h 277437"/>
                  <a:gd name="connsiteX8" fmla="*/ 13871 w 20807"/>
                  <a:gd name="connsiteY8" fmla="*/ 277437 h 277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807" h="277437">
                    <a:moveTo>
                      <a:pt x="13871" y="277437"/>
                    </a:moveTo>
                    <a:cubicBezTo>
                      <a:pt x="10037" y="277437"/>
                      <a:pt x="6936" y="274335"/>
                      <a:pt x="6936" y="270501"/>
                    </a:cubicBezTo>
                    <a:lnTo>
                      <a:pt x="6936" y="13871"/>
                    </a:lnTo>
                    <a:cubicBezTo>
                      <a:pt x="3102" y="13871"/>
                      <a:pt x="0" y="10770"/>
                      <a:pt x="0" y="6936"/>
                    </a:cubicBezTo>
                    <a:cubicBezTo>
                      <a:pt x="0" y="3102"/>
                      <a:pt x="3102" y="0"/>
                      <a:pt x="6936" y="0"/>
                    </a:cubicBezTo>
                    <a:lnTo>
                      <a:pt x="13871" y="0"/>
                    </a:lnTo>
                    <a:cubicBezTo>
                      <a:pt x="17705" y="0"/>
                      <a:pt x="20807" y="3102"/>
                      <a:pt x="20807" y="6936"/>
                    </a:cubicBezTo>
                    <a:lnTo>
                      <a:pt x="20807" y="270501"/>
                    </a:lnTo>
                    <a:cubicBezTo>
                      <a:pt x="20807" y="274332"/>
                      <a:pt x="17705" y="277437"/>
                      <a:pt x="13871" y="277437"/>
                    </a:cubicBezTo>
                    <a:close/>
                  </a:path>
                </a:pathLst>
              </a:custGeom>
              <a:grpFill/>
              <a:ln w="358"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97" name="Freihandform: Form 406">
                <a:extLst>
                  <a:ext uri="{FF2B5EF4-FFF2-40B4-BE49-F238E27FC236}">
                    <a16:creationId xmlns:a16="http://schemas.microsoft.com/office/drawing/2014/main" id="{AA8C88BF-AD31-F99B-1187-0B799074C1B0}"/>
                  </a:ext>
                </a:extLst>
              </p:cNvPr>
              <p:cNvSpPr/>
              <p:nvPr/>
            </p:nvSpPr>
            <p:spPr>
              <a:xfrm>
                <a:off x="1014121" y="1732694"/>
                <a:ext cx="20807" cy="277437"/>
              </a:xfrm>
              <a:custGeom>
                <a:avLst/>
                <a:gdLst>
                  <a:gd name="connsiteX0" fmla="*/ 6936 w 20807"/>
                  <a:gd name="connsiteY0" fmla="*/ 277437 h 277437"/>
                  <a:gd name="connsiteX1" fmla="*/ 0 w 20807"/>
                  <a:gd name="connsiteY1" fmla="*/ 270501 h 277437"/>
                  <a:gd name="connsiteX2" fmla="*/ 0 w 20807"/>
                  <a:gd name="connsiteY2" fmla="*/ 6936 h 277437"/>
                  <a:gd name="connsiteX3" fmla="*/ 6936 w 20807"/>
                  <a:gd name="connsiteY3" fmla="*/ 0 h 277437"/>
                  <a:gd name="connsiteX4" fmla="*/ 13871 w 20807"/>
                  <a:gd name="connsiteY4" fmla="*/ 0 h 277437"/>
                  <a:gd name="connsiteX5" fmla="*/ 20807 w 20807"/>
                  <a:gd name="connsiteY5" fmla="*/ 6936 h 277437"/>
                  <a:gd name="connsiteX6" fmla="*/ 13871 w 20807"/>
                  <a:gd name="connsiteY6" fmla="*/ 13871 h 277437"/>
                  <a:gd name="connsiteX7" fmla="*/ 13871 w 20807"/>
                  <a:gd name="connsiteY7" fmla="*/ 270501 h 277437"/>
                  <a:gd name="connsiteX8" fmla="*/ 6936 w 20807"/>
                  <a:gd name="connsiteY8" fmla="*/ 277437 h 277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807" h="277437">
                    <a:moveTo>
                      <a:pt x="6936" y="277437"/>
                    </a:moveTo>
                    <a:cubicBezTo>
                      <a:pt x="3102" y="277437"/>
                      <a:pt x="0" y="274335"/>
                      <a:pt x="0" y="270501"/>
                    </a:cubicBezTo>
                    <a:lnTo>
                      <a:pt x="0" y="6936"/>
                    </a:lnTo>
                    <a:cubicBezTo>
                      <a:pt x="0" y="3102"/>
                      <a:pt x="3102" y="0"/>
                      <a:pt x="6936" y="0"/>
                    </a:cubicBezTo>
                    <a:lnTo>
                      <a:pt x="13871" y="0"/>
                    </a:lnTo>
                    <a:cubicBezTo>
                      <a:pt x="17706" y="0"/>
                      <a:pt x="20807" y="3102"/>
                      <a:pt x="20807" y="6936"/>
                    </a:cubicBezTo>
                    <a:cubicBezTo>
                      <a:pt x="20807" y="10770"/>
                      <a:pt x="17706" y="13871"/>
                      <a:pt x="13871" y="13871"/>
                    </a:cubicBezTo>
                    <a:lnTo>
                      <a:pt x="13871" y="270501"/>
                    </a:lnTo>
                    <a:cubicBezTo>
                      <a:pt x="13871" y="274332"/>
                      <a:pt x="10770" y="277437"/>
                      <a:pt x="6936" y="277437"/>
                    </a:cubicBezTo>
                    <a:close/>
                  </a:path>
                </a:pathLst>
              </a:custGeom>
              <a:grpFill/>
              <a:ln w="358"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98" name="Freihandform: Form 407">
                <a:extLst>
                  <a:ext uri="{FF2B5EF4-FFF2-40B4-BE49-F238E27FC236}">
                    <a16:creationId xmlns:a16="http://schemas.microsoft.com/office/drawing/2014/main" id="{0502C6A0-F3F9-8389-A56D-443664CEB00B}"/>
                  </a:ext>
                </a:extLst>
              </p:cNvPr>
              <p:cNvSpPr/>
              <p:nvPr/>
            </p:nvSpPr>
            <p:spPr>
              <a:xfrm>
                <a:off x="958632" y="1836734"/>
                <a:ext cx="13871" cy="173397"/>
              </a:xfrm>
              <a:custGeom>
                <a:avLst/>
                <a:gdLst>
                  <a:gd name="connsiteX0" fmla="*/ 6936 w 13871"/>
                  <a:gd name="connsiteY0" fmla="*/ 173397 h 173397"/>
                  <a:gd name="connsiteX1" fmla="*/ 0 w 13871"/>
                  <a:gd name="connsiteY1" fmla="*/ 166461 h 173397"/>
                  <a:gd name="connsiteX2" fmla="*/ 0 w 13871"/>
                  <a:gd name="connsiteY2" fmla="*/ 6936 h 173397"/>
                  <a:gd name="connsiteX3" fmla="*/ 6936 w 13871"/>
                  <a:gd name="connsiteY3" fmla="*/ 0 h 173397"/>
                  <a:gd name="connsiteX4" fmla="*/ 13872 w 13871"/>
                  <a:gd name="connsiteY4" fmla="*/ 6936 h 173397"/>
                  <a:gd name="connsiteX5" fmla="*/ 13872 w 13871"/>
                  <a:gd name="connsiteY5" fmla="*/ 166461 h 173397"/>
                  <a:gd name="connsiteX6" fmla="*/ 6936 w 13871"/>
                  <a:gd name="connsiteY6" fmla="*/ 173397 h 173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1" h="173397">
                    <a:moveTo>
                      <a:pt x="6936" y="173397"/>
                    </a:moveTo>
                    <a:cubicBezTo>
                      <a:pt x="3102" y="173397"/>
                      <a:pt x="0" y="170296"/>
                      <a:pt x="0" y="166461"/>
                    </a:cubicBezTo>
                    <a:lnTo>
                      <a:pt x="0" y="6936"/>
                    </a:lnTo>
                    <a:cubicBezTo>
                      <a:pt x="0" y="3102"/>
                      <a:pt x="3102" y="0"/>
                      <a:pt x="6936" y="0"/>
                    </a:cubicBezTo>
                    <a:cubicBezTo>
                      <a:pt x="10770" y="0"/>
                      <a:pt x="13872" y="3102"/>
                      <a:pt x="13872" y="6936"/>
                    </a:cubicBezTo>
                    <a:lnTo>
                      <a:pt x="13872" y="166461"/>
                    </a:lnTo>
                    <a:cubicBezTo>
                      <a:pt x="13872" y="170292"/>
                      <a:pt x="10770" y="173397"/>
                      <a:pt x="6936" y="173397"/>
                    </a:cubicBezTo>
                    <a:close/>
                  </a:path>
                </a:pathLst>
              </a:custGeom>
              <a:grpFill/>
              <a:ln w="358"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99" name="Freihandform: Form 408">
                <a:extLst>
                  <a:ext uri="{FF2B5EF4-FFF2-40B4-BE49-F238E27FC236}">
                    <a16:creationId xmlns:a16="http://schemas.microsoft.com/office/drawing/2014/main" id="{15D9503E-338C-D0DF-1F0F-0370E073C48F}"/>
                  </a:ext>
                </a:extLst>
              </p:cNvPr>
              <p:cNvSpPr/>
              <p:nvPr/>
            </p:nvSpPr>
            <p:spPr>
              <a:xfrm>
                <a:off x="861535" y="1628654"/>
                <a:ext cx="208079" cy="228886"/>
              </a:xfrm>
              <a:custGeom>
                <a:avLst/>
                <a:gdLst>
                  <a:gd name="connsiteX0" fmla="*/ 201137 w 208079"/>
                  <a:gd name="connsiteY0" fmla="*/ 228887 h 228886"/>
                  <a:gd name="connsiteX1" fmla="*/ 187265 w 208079"/>
                  <a:gd name="connsiteY1" fmla="*/ 228887 h 228886"/>
                  <a:gd name="connsiteX2" fmla="*/ 180330 w 208079"/>
                  <a:gd name="connsiteY2" fmla="*/ 221951 h 228886"/>
                  <a:gd name="connsiteX3" fmla="*/ 187265 w 208079"/>
                  <a:gd name="connsiteY3" fmla="*/ 215015 h 228886"/>
                  <a:gd name="connsiteX4" fmla="*/ 194201 w 208079"/>
                  <a:gd name="connsiteY4" fmla="*/ 215015 h 228886"/>
                  <a:gd name="connsiteX5" fmla="*/ 194201 w 208079"/>
                  <a:gd name="connsiteY5" fmla="*/ 90168 h 228886"/>
                  <a:gd name="connsiteX6" fmla="*/ 124844 w 208079"/>
                  <a:gd name="connsiteY6" fmla="*/ 13875 h 228886"/>
                  <a:gd name="connsiteX7" fmla="*/ 83229 w 208079"/>
                  <a:gd name="connsiteY7" fmla="*/ 13875 h 228886"/>
                  <a:gd name="connsiteX8" fmla="*/ 13872 w 208079"/>
                  <a:gd name="connsiteY8" fmla="*/ 90168 h 228886"/>
                  <a:gd name="connsiteX9" fmla="*/ 13872 w 208079"/>
                  <a:gd name="connsiteY9" fmla="*/ 215015 h 228886"/>
                  <a:gd name="connsiteX10" fmla="*/ 20807 w 208079"/>
                  <a:gd name="connsiteY10" fmla="*/ 215015 h 228886"/>
                  <a:gd name="connsiteX11" fmla="*/ 27743 w 208079"/>
                  <a:gd name="connsiteY11" fmla="*/ 221951 h 228886"/>
                  <a:gd name="connsiteX12" fmla="*/ 20807 w 208079"/>
                  <a:gd name="connsiteY12" fmla="*/ 228887 h 228886"/>
                  <a:gd name="connsiteX13" fmla="*/ 6936 w 208079"/>
                  <a:gd name="connsiteY13" fmla="*/ 228887 h 228886"/>
                  <a:gd name="connsiteX14" fmla="*/ 0 w 208079"/>
                  <a:gd name="connsiteY14" fmla="*/ 221951 h 228886"/>
                  <a:gd name="connsiteX15" fmla="*/ 0 w 208079"/>
                  <a:gd name="connsiteY15" fmla="*/ 90168 h 228886"/>
                  <a:gd name="connsiteX16" fmla="*/ 83233 w 208079"/>
                  <a:gd name="connsiteY16" fmla="*/ 0 h 228886"/>
                  <a:gd name="connsiteX17" fmla="*/ 124847 w 208079"/>
                  <a:gd name="connsiteY17" fmla="*/ 0 h 228886"/>
                  <a:gd name="connsiteX18" fmla="*/ 208080 w 208079"/>
                  <a:gd name="connsiteY18" fmla="*/ 90168 h 228886"/>
                  <a:gd name="connsiteX19" fmla="*/ 208080 w 208079"/>
                  <a:gd name="connsiteY19" fmla="*/ 221951 h 228886"/>
                  <a:gd name="connsiteX20" fmla="*/ 201137 w 208079"/>
                  <a:gd name="connsiteY20" fmla="*/ 228887 h 22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8079" h="228886">
                    <a:moveTo>
                      <a:pt x="201137" y="228887"/>
                    </a:moveTo>
                    <a:lnTo>
                      <a:pt x="187265" y="228887"/>
                    </a:lnTo>
                    <a:cubicBezTo>
                      <a:pt x="183431" y="228887"/>
                      <a:pt x="180330" y="225785"/>
                      <a:pt x="180330" y="221951"/>
                    </a:cubicBezTo>
                    <a:cubicBezTo>
                      <a:pt x="180330" y="218117"/>
                      <a:pt x="183431" y="215015"/>
                      <a:pt x="187265" y="215015"/>
                    </a:cubicBezTo>
                    <a:lnTo>
                      <a:pt x="194201" y="215015"/>
                    </a:lnTo>
                    <a:lnTo>
                      <a:pt x="194201" y="90168"/>
                    </a:lnTo>
                    <a:cubicBezTo>
                      <a:pt x="194201" y="45958"/>
                      <a:pt x="165029" y="13875"/>
                      <a:pt x="124844" y="13875"/>
                    </a:cubicBezTo>
                    <a:lnTo>
                      <a:pt x="83229" y="13875"/>
                    </a:lnTo>
                    <a:cubicBezTo>
                      <a:pt x="43043" y="13875"/>
                      <a:pt x="13872" y="45962"/>
                      <a:pt x="13872" y="90168"/>
                    </a:cubicBezTo>
                    <a:lnTo>
                      <a:pt x="13872" y="215015"/>
                    </a:lnTo>
                    <a:lnTo>
                      <a:pt x="20807" y="215015"/>
                    </a:lnTo>
                    <a:cubicBezTo>
                      <a:pt x="24641" y="215015"/>
                      <a:pt x="27743" y="218117"/>
                      <a:pt x="27743" y="221951"/>
                    </a:cubicBezTo>
                    <a:cubicBezTo>
                      <a:pt x="27743" y="225785"/>
                      <a:pt x="24641" y="228887"/>
                      <a:pt x="20807" y="228887"/>
                    </a:cubicBezTo>
                    <a:lnTo>
                      <a:pt x="6936" y="228887"/>
                    </a:lnTo>
                    <a:cubicBezTo>
                      <a:pt x="3102" y="228887"/>
                      <a:pt x="0" y="225785"/>
                      <a:pt x="0" y="221951"/>
                    </a:cubicBezTo>
                    <a:lnTo>
                      <a:pt x="0" y="90168"/>
                    </a:lnTo>
                    <a:cubicBezTo>
                      <a:pt x="0" y="38764"/>
                      <a:pt x="35784" y="0"/>
                      <a:pt x="83233" y="0"/>
                    </a:cubicBezTo>
                    <a:lnTo>
                      <a:pt x="124847" y="0"/>
                    </a:lnTo>
                    <a:cubicBezTo>
                      <a:pt x="172295" y="0"/>
                      <a:pt x="208080" y="38764"/>
                      <a:pt x="208080" y="90168"/>
                    </a:cubicBezTo>
                    <a:lnTo>
                      <a:pt x="208080" y="221951"/>
                    </a:lnTo>
                    <a:cubicBezTo>
                      <a:pt x="208073" y="225781"/>
                      <a:pt x="204971" y="228887"/>
                      <a:pt x="201137" y="228887"/>
                    </a:cubicBezTo>
                    <a:close/>
                  </a:path>
                </a:pathLst>
              </a:custGeom>
              <a:grpFill/>
              <a:ln w="358"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00" name="Freihandform: Form 409">
                <a:extLst>
                  <a:ext uri="{FF2B5EF4-FFF2-40B4-BE49-F238E27FC236}">
                    <a16:creationId xmlns:a16="http://schemas.microsoft.com/office/drawing/2014/main" id="{B447CD1C-C25B-CDFE-C42D-8A56CD96D61E}"/>
                  </a:ext>
                </a:extLst>
              </p:cNvPr>
              <p:cNvSpPr/>
              <p:nvPr/>
            </p:nvSpPr>
            <p:spPr>
              <a:xfrm>
                <a:off x="917017" y="1503811"/>
                <a:ext cx="97100" cy="110971"/>
              </a:xfrm>
              <a:custGeom>
                <a:avLst/>
                <a:gdLst>
                  <a:gd name="connsiteX0" fmla="*/ 48550 w 97100"/>
                  <a:gd name="connsiteY0" fmla="*/ 110972 h 110971"/>
                  <a:gd name="connsiteX1" fmla="*/ 0 w 97100"/>
                  <a:gd name="connsiteY1" fmla="*/ 55486 h 110971"/>
                  <a:gd name="connsiteX2" fmla="*/ 48550 w 97100"/>
                  <a:gd name="connsiteY2" fmla="*/ 0 h 110971"/>
                  <a:gd name="connsiteX3" fmla="*/ 97100 w 97100"/>
                  <a:gd name="connsiteY3" fmla="*/ 55486 h 110971"/>
                  <a:gd name="connsiteX4" fmla="*/ 48550 w 97100"/>
                  <a:gd name="connsiteY4" fmla="*/ 110972 h 110971"/>
                  <a:gd name="connsiteX5" fmla="*/ 48550 w 97100"/>
                  <a:gd name="connsiteY5" fmla="*/ 13868 h 110971"/>
                  <a:gd name="connsiteX6" fmla="*/ 13871 w 97100"/>
                  <a:gd name="connsiteY6" fmla="*/ 55482 h 110971"/>
                  <a:gd name="connsiteX7" fmla="*/ 48550 w 97100"/>
                  <a:gd name="connsiteY7" fmla="*/ 97097 h 110971"/>
                  <a:gd name="connsiteX8" fmla="*/ 83229 w 97100"/>
                  <a:gd name="connsiteY8" fmla="*/ 55482 h 110971"/>
                  <a:gd name="connsiteX9" fmla="*/ 48550 w 97100"/>
                  <a:gd name="connsiteY9" fmla="*/ 13868 h 110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100" h="110971">
                    <a:moveTo>
                      <a:pt x="48550" y="110972"/>
                    </a:moveTo>
                    <a:cubicBezTo>
                      <a:pt x="19511" y="110972"/>
                      <a:pt x="0" y="88675"/>
                      <a:pt x="0" y="55486"/>
                    </a:cubicBezTo>
                    <a:cubicBezTo>
                      <a:pt x="0" y="22297"/>
                      <a:pt x="19515" y="0"/>
                      <a:pt x="48550" y="0"/>
                    </a:cubicBezTo>
                    <a:cubicBezTo>
                      <a:pt x="77589" y="0"/>
                      <a:pt x="97100" y="22297"/>
                      <a:pt x="97100" y="55486"/>
                    </a:cubicBezTo>
                    <a:cubicBezTo>
                      <a:pt x="97104" y="88675"/>
                      <a:pt x="77589" y="110972"/>
                      <a:pt x="48550" y="110972"/>
                    </a:cubicBezTo>
                    <a:close/>
                    <a:moveTo>
                      <a:pt x="48550" y="13868"/>
                    </a:moveTo>
                    <a:cubicBezTo>
                      <a:pt x="22954" y="13868"/>
                      <a:pt x="13871" y="36287"/>
                      <a:pt x="13871" y="55482"/>
                    </a:cubicBezTo>
                    <a:cubicBezTo>
                      <a:pt x="13871" y="74678"/>
                      <a:pt x="22954" y="97097"/>
                      <a:pt x="48550" y="97097"/>
                    </a:cubicBezTo>
                    <a:cubicBezTo>
                      <a:pt x="74146" y="97097"/>
                      <a:pt x="83229" y="74678"/>
                      <a:pt x="83229" y="55482"/>
                    </a:cubicBezTo>
                    <a:cubicBezTo>
                      <a:pt x="83229" y="36291"/>
                      <a:pt x="74146" y="13868"/>
                      <a:pt x="48550" y="13868"/>
                    </a:cubicBezTo>
                    <a:close/>
                  </a:path>
                </a:pathLst>
              </a:custGeom>
              <a:grpFill/>
              <a:ln w="358"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grpSp>
          <p:nvGrpSpPr>
            <p:cNvPr id="83" name="Group 10">
              <a:extLst>
                <a:ext uri="{FF2B5EF4-FFF2-40B4-BE49-F238E27FC236}">
                  <a16:creationId xmlns:a16="http://schemas.microsoft.com/office/drawing/2014/main" id="{E9297DD3-B880-6C60-4ADF-A02FA336A612}"/>
                </a:ext>
              </a:extLst>
            </p:cNvPr>
            <p:cNvGrpSpPr/>
            <p:nvPr/>
          </p:nvGrpSpPr>
          <p:grpSpPr>
            <a:xfrm>
              <a:off x="706282" y="1481780"/>
              <a:ext cx="554729" cy="716400"/>
              <a:chOff x="706280" y="1481780"/>
              <a:chExt cx="590967" cy="763200"/>
            </a:xfrm>
            <a:solidFill>
              <a:schemeClr val="bg2"/>
            </a:solidFill>
          </p:grpSpPr>
          <p:grpSp>
            <p:nvGrpSpPr>
              <p:cNvPr id="84" name="Group 721">
                <a:extLst>
                  <a:ext uri="{FF2B5EF4-FFF2-40B4-BE49-F238E27FC236}">
                    <a16:creationId xmlns:a16="http://schemas.microsoft.com/office/drawing/2014/main" id="{35CC3A63-D748-643C-949C-3465A61B633E}"/>
                  </a:ext>
                </a:extLst>
              </p:cNvPr>
              <p:cNvGrpSpPr/>
              <p:nvPr/>
            </p:nvGrpSpPr>
            <p:grpSpPr>
              <a:xfrm>
                <a:off x="1139658" y="1481780"/>
                <a:ext cx="157589" cy="344588"/>
                <a:chOff x="1139678" y="1481780"/>
                <a:chExt cx="110972" cy="242651"/>
              </a:xfrm>
              <a:grpFill/>
            </p:grpSpPr>
            <p:sp>
              <p:nvSpPr>
                <p:cNvPr id="92" name="Freihandform: Form 401">
                  <a:extLst>
                    <a:ext uri="{FF2B5EF4-FFF2-40B4-BE49-F238E27FC236}">
                      <a16:creationId xmlns:a16="http://schemas.microsoft.com/office/drawing/2014/main" id="{62649058-488C-41ED-1653-3B2D8EBD9CF3}"/>
                    </a:ext>
                  </a:extLst>
                </p:cNvPr>
                <p:cNvSpPr/>
                <p:nvPr/>
              </p:nvSpPr>
              <p:spPr>
                <a:xfrm>
                  <a:off x="1209034" y="1537163"/>
                  <a:ext cx="13871" cy="187268"/>
                </a:xfrm>
                <a:custGeom>
                  <a:avLst/>
                  <a:gdLst>
                    <a:gd name="connsiteX0" fmla="*/ 6936 w 13871"/>
                    <a:gd name="connsiteY0" fmla="*/ 187269 h 187268"/>
                    <a:gd name="connsiteX1" fmla="*/ 0 w 13871"/>
                    <a:gd name="connsiteY1" fmla="*/ 180333 h 187268"/>
                    <a:gd name="connsiteX2" fmla="*/ 0 w 13871"/>
                    <a:gd name="connsiteY2" fmla="*/ 6936 h 187268"/>
                    <a:gd name="connsiteX3" fmla="*/ 6936 w 13871"/>
                    <a:gd name="connsiteY3" fmla="*/ 0 h 187268"/>
                    <a:gd name="connsiteX4" fmla="*/ 13871 w 13871"/>
                    <a:gd name="connsiteY4" fmla="*/ 6936 h 187268"/>
                    <a:gd name="connsiteX5" fmla="*/ 13871 w 13871"/>
                    <a:gd name="connsiteY5" fmla="*/ 180333 h 187268"/>
                    <a:gd name="connsiteX6" fmla="*/ 6936 w 13871"/>
                    <a:gd name="connsiteY6" fmla="*/ 187269 h 187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1" h="187268">
                      <a:moveTo>
                        <a:pt x="6936" y="187269"/>
                      </a:moveTo>
                      <a:cubicBezTo>
                        <a:pt x="3102" y="187269"/>
                        <a:pt x="0" y="184167"/>
                        <a:pt x="0" y="180333"/>
                      </a:cubicBezTo>
                      <a:lnTo>
                        <a:pt x="0" y="6936"/>
                      </a:lnTo>
                      <a:cubicBezTo>
                        <a:pt x="0" y="3102"/>
                        <a:pt x="3102" y="0"/>
                        <a:pt x="6936" y="0"/>
                      </a:cubicBezTo>
                      <a:cubicBezTo>
                        <a:pt x="10770" y="0"/>
                        <a:pt x="13871" y="3102"/>
                        <a:pt x="13871" y="6936"/>
                      </a:cubicBezTo>
                      <a:lnTo>
                        <a:pt x="13871" y="180333"/>
                      </a:lnTo>
                      <a:cubicBezTo>
                        <a:pt x="13871" y="184167"/>
                        <a:pt x="10770" y="187269"/>
                        <a:pt x="6936" y="187269"/>
                      </a:cubicBezTo>
                      <a:close/>
                    </a:path>
                  </a:pathLst>
                </a:custGeom>
                <a:grpFill/>
                <a:ln w="358"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93" name="Freihandform: Form 402">
                  <a:extLst>
                    <a:ext uri="{FF2B5EF4-FFF2-40B4-BE49-F238E27FC236}">
                      <a16:creationId xmlns:a16="http://schemas.microsoft.com/office/drawing/2014/main" id="{64153E95-2419-8E20-1736-F654F22199D9}"/>
                    </a:ext>
                  </a:extLst>
                </p:cNvPr>
                <p:cNvSpPr/>
                <p:nvPr/>
              </p:nvSpPr>
              <p:spPr>
                <a:xfrm>
                  <a:off x="1167420" y="1641203"/>
                  <a:ext cx="13871" cy="27742"/>
                </a:xfrm>
                <a:custGeom>
                  <a:avLst/>
                  <a:gdLst>
                    <a:gd name="connsiteX0" fmla="*/ 6936 w 13871"/>
                    <a:gd name="connsiteY0" fmla="*/ 27743 h 27742"/>
                    <a:gd name="connsiteX1" fmla="*/ 0 w 13871"/>
                    <a:gd name="connsiteY1" fmla="*/ 20807 h 27742"/>
                    <a:gd name="connsiteX2" fmla="*/ 0 w 13871"/>
                    <a:gd name="connsiteY2" fmla="*/ 6936 h 27742"/>
                    <a:gd name="connsiteX3" fmla="*/ 6936 w 13871"/>
                    <a:gd name="connsiteY3" fmla="*/ 0 h 27742"/>
                    <a:gd name="connsiteX4" fmla="*/ 13871 w 13871"/>
                    <a:gd name="connsiteY4" fmla="*/ 6936 h 27742"/>
                    <a:gd name="connsiteX5" fmla="*/ 13871 w 13871"/>
                    <a:gd name="connsiteY5" fmla="*/ 20807 h 27742"/>
                    <a:gd name="connsiteX6" fmla="*/ 6936 w 13871"/>
                    <a:gd name="connsiteY6" fmla="*/ 27743 h 2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1" h="27742">
                      <a:moveTo>
                        <a:pt x="6936" y="27743"/>
                      </a:moveTo>
                      <a:cubicBezTo>
                        <a:pt x="3102" y="27743"/>
                        <a:pt x="0" y="24641"/>
                        <a:pt x="0" y="20807"/>
                      </a:cubicBezTo>
                      <a:lnTo>
                        <a:pt x="0" y="6936"/>
                      </a:lnTo>
                      <a:cubicBezTo>
                        <a:pt x="0" y="3102"/>
                        <a:pt x="3102" y="0"/>
                        <a:pt x="6936" y="0"/>
                      </a:cubicBezTo>
                      <a:cubicBezTo>
                        <a:pt x="10770" y="0"/>
                        <a:pt x="13871" y="3102"/>
                        <a:pt x="13871" y="6936"/>
                      </a:cubicBezTo>
                      <a:lnTo>
                        <a:pt x="13871" y="20807"/>
                      </a:lnTo>
                      <a:cubicBezTo>
                        <a:pt x="13871" y="24638"/>
                        <a:pt x="10770" y="27743"/>
                        <a:pt x="6936" y="27743"/>
                      </a:cubicBezTo>
                      <a:close/>
                    </a:path>
                  </a:pathLst>
                </a:custGeom>
                <a:grpFill/>
                <a:ln w="358"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94" name="Freihandform: Form 403">
                  <a:extLst>
                    <a:ext uri="{FF2B5EF4-FFF2-40B4-BE49-F238E27FC236}">
                      <a16:creationId xmlns:a16="http://schemas.microsoft.com/office/drawing/2014/main" id="{ACC25E17-11FE-E363-0793-CD0E0B2EE00A}"/>
                    </a:ext>
                  </a:extLst>
                </p:cNvPr>
                <p:cNvSpPr/>
                <p:nvPr/>
              </p:nvSpPr>
              <p:spPr>
                <a:xfrm>
                  <a:off x="1167420" y="1606521"/>
                  <a:ext cx="13871" cy="27735"/>
                </a:xfrm>
                <a:custGeom>
                  <a:avLst/>
                  <a:gdLst>
                    <a:gd name="connsiteX0" fmla="*/ 6936 w 13871"/>
                    <a:gd name="connsiteY0" fmla="*/ 27736 h 27735"/>
                    <a:gd name="connsiteX1" fmla="*/ 0 w 13871"/>
                    <a:gd name="connsiteY1" fmla="*/ 20800 h 27735"/>
                    <a:gd name="connsiteX2" fmla="*/ 0 w 13871"/>
                    <a:gd name="connsiteY2" fmla="*/ 6936 h 27735"/>
                    <a:gd name="connsiteX3" fmla="*/ 6936 w 13871"/>
                    <a:gd name="connsiteY3" fmla="*/ 0 h 27735"/>
                    <a:gd name="connsiteX4" fmla="*/ 13871 w 13871"/>
                    <a:gd name="connsiteY4" fmla="*/ 6936 h 27735"/>
                    <a:gd name="connsiteX5" fmla="*/ 13871 w 13871"/>
                    <a:gd name="connsiteY5" fmla="*/ 20800 h 27735"/>
                    <a:gd name="connsiteX6" fmla="*/ 6936 w 13871"/>
                    <a:gd name="connsiteY6" fmla="*/ 27736 h 2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1" h="27735">
                      <a:moveTo>
                        <a:pt x="6936" y="27736"/>
                      </a:moveTo>
                      <a:cubicBezTo>
                        <a:pt x="3102" y="27736"/>
                        <a:pt x="0" y="24634"/>
                        <a:pt x="0" y="20800"/>
                      </a:cubicBezTo>
                      <a:lnTo>
                        <a:pt x="0" y="6936"/>
                      </a:lnTo>
                      <a:cubicBezTo>
                        <a:pt x="0" y="3102"/>
                        <a:pt x="3102" y="0"/>
                        <a:pt x="6936" y="0"/>
                      </a:cubicBezTo>
                      <a:cubicBezTo>
                        <a:pt x="10770" y="0"/>
                        <a:pt x="13871" y="3102"/>
                        <a:pt x="13871" y="6936"/>
                      </a:cubicBezTo>
                      <a:lnTo>
                        <a:pt x="13871" y="20800"/>
                      </a:lnTo>
                      <a:cubicBezTo>
                        <a:pt x="13871" y="24634"/>
                        <a:pt x="10770" y="27736"/>
                        <a:pt x="6936" y="27736"/>
                      </a:cubicBezTo>
                      <a:close/>
                    </a:path>
                  </a:pathLst>
                </a:custGeom>
                <a:grpFill/>
                <a:ln w="358"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95" name="Freihandform: Form 404">
                  <a:extLst>
                    <a:ext uri="{FF2B5EF4-FFF2-40B4-BE49-F238E27FC236}">
                      <a16:creationId xmlns:a16="http://schemas.microsoft.com/office/drawing/2014/main" id="{7FDE9918-770A-A97A-78B4-0973538FF6FB}"/>
                    </a:ext>
                  </a:extLst>
                </p:cNvPr>
                <p:cNvSpPr/>
                <p:nvPr/>
              </p:nvSpPr>
              <p:spPr>
                <a:xfrm>
                  <a:off x="1139678" y="1481780"/>
                  <a:ext cx="110972" cy="117805"/>
                </a:xfrm>
                <a:custGeom>
                  <a:avLst/>
                  <a:gdLst>
                    <a:gd name="connsiteX0" fmla="*/ 34677 w 110972"/>
                    <a:gd name="connsiteY0" fmla="*/ 117805 h 117805"/>
                    <a:gd name="connsiteX1" fmla="*/ 27742 w 110972"/>
                    <a:gd name="connsiteY1" fmla="*/ 110870 h 117805"/>
                    <a:gd name="connsiteX2" fmla="*/ 27742 w 110972"/>
                    <a:gd name="connsiteY2" fmla="*/ 69255 h 117805"/>
                    <a:gd name="connsiteX3" fmla="*/ 6934 w 110972"/>
                    <a:gd name="connsiteY3" fmla="*/ 69255 h 117805"/>
                    <a:gd name="connsiteX4" fmla="*/ 623 w 110972"/>
                    <a:gd name="connsiteY4" fmla="*/ 65184 h 117805"/>
                    <a:gd name="connsiteX5" fmla="*/ 1715 w 110972"/>
                    <a:gd name="connsiteY5" fmla="*/ 57753 h 117805"/>
                    <a:gd name="connsiteX6" fmla="*/ 50265 w 110972"/>
                    <a:gd name="connsiteY6" fmla="*/ 2267 h 117805"/>
                    <a:gd name="connsiteX7" fmla="*/ 60708 w 110972"/>
                    <a:gd name="connsiteY7" fmla="*/ 2267 h 117805"/>
                    <a:gd name="connsiteX8" fmla="*/ 109258 w 110972"/>
                    <a:gd name="connsiteY8" fmla="*/ 57753 h 117805"/>
                    <a:gd name="connsiteX9" fmla="*/ 110350 w 110972"/>
                    <a:gd name="connsiteY9" fmla="*/ 65184 h 117805"/>
                    <a:gd name="connsiteX10" fmla="*/ 104038 w 110972"/>
                    <a:gd name="connsiteY10" fmla="*/ 69255 h 117805"/>
                    <a:gd name="connsiteX11" fmla="*/ 62424 w 110972"/>
                    <a:gd name="connsiteY11" fmla="*/ 69255 h 117805"/>
                    <a:gd name="connsiteX12" fmla="*/ 55488 w 110972"/>
                    <a:gd name="connsiteY12" fmla="*/ 62319 h 117805"/>
                    <a:gd name="connsiteX13" fmla="*/ 62424 w 110972"/>
                    <a:gd name="connsiteY13" fmla="*/ 55384 h 117805"/>
                    <a:gd name="connsiteX14" fmla="*/ 88753 w 110972"/>
                    <a:gd name="connsiteY14" fmla="*/ 55384 h 117805"/>
                    <a:gd name="connsiteX15" fmla="*/ 55488 w 110972"/>
                    <a:gd name="connsiteY15" fmla="*/ 17366 h 117805"/>
                    <a:gd name="connsiteX16" fmla="*/ 22224 w 110972"/>
                    <a:gd name="connsiteY16" fmla="*/ 55384 h 117805"/>
                    <a:gd name="connsiteX17" fmla="*/ 34681 w 110972"/>
                    <a:gd name="connsiteY17" fmla="*/ 55384 h 117805"/>
                    <a:gd name="connsiteX18" fmla="*/ 41616 w 110972"/>
                    <a:gd name="connsiteY18" fmla="*/ 62319 h 117805"/>
                    <a:gd name="connsiteX19" fmla="*/ 41616 w 110972"/>
                    <a:gd name="connsiteY19" fmla="*/ 110870 h 117805"/>
                    <a:gd name="connsiteX20" fmla="*/ 34677 w 110972"/>
                    <a:gd name="connsiteY20" fmla="*/ 117805 h 117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972" h="117805">
                      <a:moveTo>
                        <a:pt x="34677" y="117805"/>
                      </a:moveTo>
                      <a:cubicBezTo>
                        <a:pt x="30843" y="117805"/>
                        <a:pt x="27742" y="114704"/>
                        <a:pt x="27742" y="110870"/>
                      </a:cubicBezTo>
                      <a:lnTo>
                        <a:pt x="27742" y="69255"/>
                      </a:lnTo>
                      <a:lnTo>
                        <a:pt x="6934" y="69255"/>
                      </a:lnTo>
                      <a:cubicBezTo>
                        <a:pt x="4213" y="69255"/>
                        <a:pt x="1747" y="67665"/>
                        <a:pt x="623" y="65184"/>
                      </a:cubicBezTo>
                      <a:cubicBezTo>
                        <a:pt x="-508" y="62704"/>
                        <a:pt x="-73" y="59799"/>
                        <a:pt x="1715" y="57753"/>
                      </a:cubicBezTo>
                      <a:lnTo>
                        <a:pt x="50265" y="2267"/>
                      </a:lnTo>
                      <a:cubicBezTo>
                        <a:pt x="52907" y="-756"/>
                        <a:pt x="58069" y="-756"/>
                        <a:pt x="60708" y="2267"/>
                      </a:cubicBezTo>
                      <a:lnTo>
                        <a:pt x="109258" y="57753"/>
                      </a:lnTo>
                      <a:cubicBezTo>
                        <a:pt x="111046" y="59799"/>
                        <a:pt x="111480" y="62704"/>
                        <a:pt x="110350" y="65184"/>
                      </a:cubicBezTo>
                      <a:cubicBezTo>
                        <a:pt x="109226" y="67665"/>
                        <a:pt x="106760" y="69255"/>
                        <a:pt x="104038" y="69255"/>
                      </a:cubicBezTo>
                      <a:lnTo>
                        <a:pt x="62424" y="69255"/>
                      </a:lnTo>
                      <a:cubicBezTo>
                        <a:pt x="58590" y="69255"/>
                        <a:pt x="55488" y="66153"/>
                        <a:pt x="55488" y="62319"/>
                      </a:cubicBezTo>
                      <a:cubicBezTo>
                        <a:pt x="55488" y="58485"/>
                        <a:pt x="58590" y="55384"/>
                        <a:pt x="62424" y="55384"/>
                      </a:cubicBezTo>
                      <a:lnTo>
                        <a:pt x="88753" y="55384"/>
                      </a:lnTo>
                      <a:lnTo>
                        <a:pt x="55488" y="17366"/>
                      </a:lnTo>
                      <a:lnTo>
                        <a:pt x="22224" y="55384"/>
                      </a:lnTo>
                      <a:lnTo>
                        <a:pt x="34681" y="55384"/>
                      </a:lnTo>
                      <a:cubicBezTo>
                        <a:pt x="38515" y="55384"/>
                        <a:pt x="41616" y="58485"/>
                        <a:pt x="41616" y="62319"/>
                      </a:cubicBezTo>
                      <a:lnTo>
                        <a:pt x="41616" y="110870"/>
                      </a:lnTo>
                      <a:cubicBezTo>
                        <a:pt x="41613" y="114704"/>
                        <a:pt x="38511" y="117805"/>
                        <a:pt x="34677" y="117805"/>
                      </a:cubicBezTo>
                      <a:close/>
                    </a:path>
                  </a:pathLst>
                </a:custGeom>
                <a:grpFill/>
                <a:ln w="358"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grpSp>
            <p:nvGrpSpPr>
              <p:cNvPr id="85" name="Group 722">
                <a:extLst>
                  <a:ext uri="{FF2B5EF4-FFF2-40B4-BE49-F238E27FC236}">
                    <a16:creationId xmlns:a16="http://schemas.microsoft.com/office/drawing/2014/main" id="{C8D03A00-AB21-3034-FD05-713E56326845}"/>
                  </a:ext>
                </a:extLst>
              </p:cNvPr>
              <p:cNvGrpSpPr/>
              <p:nvPr/>
            </p:nvGrpSpPr>
            <p:grpSpPr>
              <a:xfrm>
                <a:off x="706280" y="1570426"/>
                <a:ext cx="157583" cy="374135"/>
                <a:chOff x="706293" y="1570426"/>
                <a:chExt cx="110968" cy="263458"/>
              </a:xfrm>
              <a:grpFill/>
            </p:grpSpPr>
            <p:sp>
              <p:nvSpPr>
                <p:cNvPr id="87" name="Freihandform: Form 396">
                  <a:extLst>
                    <a:ext uri="{FF2B5EF4-FFF2-40B4-BE49-F238E27FC236}">
                      <a16:creationId xmlns:a16="http://schemas.microsoft.com/office/drawing/2014/main" id="{D9BED9D8-082C-28E0-376C-DA5B40C2EB95}"/>
                    </a:ext>
                  </a:extLst>
                </p:cNvPr>
                <p:cNvSpPr/>
                <p:nvPr/>
              </p:nvSpPr>
              <p:spPr>
                <a:xfrm>
                  <a:off x="734035" y="1625809"/>
                  <a:ext cx="13871" cy="173397"/>
                </a:xfrm>
                <a:custGeom>
                  <a:avLst/>
                  <a:gdLst>
                    <a:gd name="connsiteX0" fmla="*/ 6936 w 13871"/>
                    <a:gd name="connsiteY0" fmla="*/ 173397 h 173397"/>
                    <a:gd name="connsiteX1" fmla="*/ 0 w 13871"/>
                    <a:gd name="connsiteY1" fmla="*/ 166462 h 173397"/>
                    <a:gd name="connsiteX2" fmla="*/ 0 w 13871"/>
                    <a:gd name="connsiteY2" fmla="*/ 6936 h 173397"/>
                    <a:gd name="connsiteX3" fmla="*/ 6936 w 13871"/>
                    <a:gd name="connsiteY3" fmla="*/ 0 h 173397"/>
                    <a:gd name="connsiteX4" fmla="*/ 13872 w 13871"/>
                    <a:gd name="connsiteY4" fmla="*/ 6936 h 173397"/>
                    <a:gd name="connsiteX5" fmla="*/ 13872 w 13871"/>
                    <a:gd name="connsiteY5" fmla="*/ 166462 h 173397"/>
                    <a:gd name="connsiteX6" fmla="*/ 6936 w 13871"/>
                    <a:gd name="connsiteY6" fmla="*/ 173397 h 173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1" h="173397">
                      <a:moveTo>
                        <a:pt x="6936" y="173397"/>
                      </a:moveTo>
                      <a:cubicBezTo>
                        <a:pt x="3102" y="173397"/>
                        <a:pt x="0" y="170296"/>
                        <a:pt x="0" y="166462"/>
                      </a:cubicBezTo>
                      <a:lnTo>
                        <a:pt x="0" y="6936"/>
                      </a:lnTo>
                      <a:cubicBezTo>
                        <a:pt x="0" y="3102"/>
                        <a:pt x="3102" y="0"/>
                        <a:pt x="6936" y="0"/>
                      </a:cubicBezTo>
                      <a:cubicBezTo>
                        <a:pt x="10770" y="0"/>
                        <a:pt x="13872" y="3102"/>
                        <a:pt x="13872" y="6936"/>
                      </a:cubicBezTo>
                      <a:lnTo>
                        <a:pt x="13872" y="166462"/>
                      </a:lnTo>
                      <a:cubicBezTo>
                        <a:pt x="13872" y="170296"/>
                        <a:pt x="10770" y="173397"/>
                        <a:pt x="6936" y="173397"/>
                      </a:cubicBezTo>
                      <a:close/>
                    </a:path>
                  </a:pathLst>
                </a:custGeom>
                <a:grpFill/>
                <a:ln w="358"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88" name="Freihandform: Form 397">
                  <a:extLst>
                    <a:ext uri="{FF2B5EF4-FFF2-40B4-BE49-F238E27FC236}">
                      <a16:creationId xmlns:a16="http://schemas.microsoft.com/office/drawing/2014/main" id="{0F1D97E0-A596-8F28-3A7D-6D9FA8747504}"/>
                    </a:ext>
                  </a:extLst>
                </p:cNvPr>
                <p:cNvSpPr/>
                <p:nvPr/>
              </p:nvSpPr>
              <p:spPr>
                <a:xfrm>
                  <a:off x="775649" y="1750656"/>
                  <a:ext cx="13871" cy="27742"/>
                </a:xfrm>
                <a:custGeom>
                  <a:avLst/>
                  <a:gdLst>
                    <a:gd name="connsiteX0" fmla="*/ 6936 w 13871"/>
                    <a:gd name="connsiteY0" fmla="*/ 27743 h 27742"/>
                    <a:gd name="connsiteX1" fmla="*/ 0 w 13871"/>
                    <a:gd name="connsiteY1" fmla="*/ 20807 h 27742"/>
                    <a:gd name="connsiteX2" fmla="*/ 0 w 13871"/>
                    <a:gd name="connsiteY2" fmla="*/ 6936 h 27742"/>
                    <a:gd name="connsiteX3" fmla="*/ 6936 w 13871"/>
                    <a:gd name="connsiteY3" fmla="*/ 0 h 27742"/>
                    <a:gd name="connsiteX4" fmla="*/ 13872 w 13871"/>
                    <a:gd name="connsiteY4" fmla="*/ 6936 h 27742"/>
                    <a:gd name="connsiteX5" fmla="*/ 13872 w 13871"/>
                    <a:gd name="connsiteY5" fmla="*/ 20807 h 27742"/>
                    <a:gd name="connsiteX6" fmla="*/ 6936 w 13871"/>
                    <a:gd name="connsiteY6" fmla="*/ 27743 h 2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1" h="27742">
                      <a:moveTo>
                        <a:pt x="6936" y="27743"/>
                      </a:moveTo>
                      <a:cubicBezTo>
                        <a:pt x="3102" y="27743"/>
                        <a:pt x="0" y="24641"/>
                        <a:pt x="0" y="20807"/>
                      </a:cubicBezTo>
                      <a:lnTo>
                        <a:pt x="0" y="6936"/>
                      </a:lnTo>
                      <a:cubicBezTo>
                        <a:pt x="0" y="3102"/>
                        <a:pt x="3102" y="0"/>
                        <a:pt x="6936" y="0"/>
                      </a:cubicBezTo>
                      <a:cubicBezTo>
                        <a:pt x="10770" y="0"/>
                        <a:pt x="13872" y="3102"/>
                        <a:pt x="13872" y="6936"/>
                      </a:cubicBezTo>
                      <a:lnTo>
                        <a:pt x="13872" y="20807"/>
                      </a:lnTo>
                      <a:cubicBezTo>
                        <a:pt x="13872" y="24641"/>
                        <a:pt x="10770" y="27743"/>
                        <a:pt x="6936" y="27743"/>
                      </a:cubicBezTo>
                      <a:close/>
                    </a:path>
                  </a:pathLst>
                </a:custGeom>
                <a:grpFill/>
                <a:ln w="358"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89" name="Freihandform: Form 398">
                  <a:extLst>
                    <a:ext uri="{FF2B5EF4-FFF2-40B4-BE49-F238E27FC236}">
                      <a16:creationId xmlns:a16="http://schemas.microsoft.com/office/drawing/2014/main" id="{10C0B2CD-FB43-4803-9336-55C156E11A5C}"/>
                    </a:ext>
                  </a:extLst>
                </p:cNvPr>
                <p:cNvSpPr/>
                <p:nvPr/>
              </p:nvSpPr>
              <p:spPr>
                <a:xfrm>
                  <a:off x="775649" y="1715977"/>
                  <a:ext cx="13871" cy="27735"/>
                </a:xfrm>
                <a:custGeom>
                  <a:avLst/>
                  <a:gdLst>
                    <a:gd name="connsiteX0" fmla="*/ 6936 w 13871"/>
                    <a:gd name="connsiteY0" fmla="*/ 27736 h 27735"/>
                    <a:gd name="connsiteX1" fmla="*/ 0 w 13871"/>
                    <a:gd name="connsiteY1" fmla="*/ 20800 h 27735"/>
                    <a:gd name="connsiteX2" fmla="*/ 0 w 13871"/>
                    <a:gd name="connsiteY2" fmla="*/ 6936 h 27735"/>
                    <a:gd name="connsiteX3" fmla="*/ 6936 w 13871"/>
                    <a:gd name="connsiteY3" fmla="*/ 0 h 27735"/>
                    <a:gd name="connsiteX4" fmla="*/ 13872 w 13871"/>
                    <a:gd name="connsiteY4" fmla="*/ 6936 h 27735"/>
                    <a:gd name="connsiteX5" fmla="*/ 13872 w 13871"/>
                    <a:gd name="connsiteY5" fmla="*/ 20800 h 27735"/>
                    <a:gd name="connsiteX6" fmla="*/ 6936 w 13871"/>
                    <a:gd name="connsiteY6" fmla="*/ 27736 h 2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1" h="27735">
                      <a:moveTo>
                        <a:pt x="6936" y="27736"/>
                      </a:moveTo>
                      <a:cubicBezTo>
                        <a:pt x="3102" y="27736"/>
                        <a:pt x="0" y="24634"/>
                        <a:pt x="0" y="20800"/>
                      </a:cubicBezTo>
                      <a:lnTo>
                        <a:pt x="0" y="6936"/>
                      </a:lnTo>
                      <a:cubicBezTo>
                        <a:pt x="0" y="3102"/>
                        <a:pt x="3102" y="0"/>
                        <a:pt x="6936" y="0"/>
                      </a:cubicBezTo>
                      <a:cubicBezTo>
                        <a:pt x="10770" y="0"/>
                        <a:pt x="13872" y="3102"/>
                        <a:pt x="13872" y="6936"/>
                      </a:cubicBezTo>
                      <a:lnTo>
                        <a:pt x="13872" y="20800"/>
                      </a:lnTo>
                      <a:cubicBezTo>
                        <a:pt x="13872" y="24634"/>
                        <a:pt x="10770" y="27736"/>
                        <a:pt x="6936" y="27736"/>
                      </a:cubicBezTo>
                      <a:close/>
                    </a:path>
                  </a:pathLst>
                </a:custGeom>
                <a:grpFill/>
                <a:ln w="358"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90" name="Freihandform: Form 399">
                  <a:extLst>
                    <a:ext uri="{FF2B5EF4-FFF2-40B4-BE49-F238E27FC236}">
                      <a16:creationId xmlns:a16="http://schemas.microsoft.com/office/drawing/2014/main" id="{DE2355A0-84BF-F97D-BBB1-D30E5E551A01}"/>
                    </a:ext>
                  </a:extLst>
                </p:cNvPr>
                <p:cNvSpPr/>
                <p:nvPr/>
              </p:nvSpPr>
              <p:spPr>
                <a:xfrm>
                  <a:off x="706293" y="1570426"/>
                  <a:ext cx="110968" cy="138616"/>
                </a:xfrm>
                <a:custGeom>
                  <a:avLst/>
                  <a:gdLst>
                    <a:gd name="connsiteX0" fmla="*/ 76292 w 110968"/>
                    <a:gd name="connsiteY0" fmla="*/ 138616 h 138616"/>
                    <a:gd name="connsiteX1" fmla="*/ 69356 w 110968"/>
                    <a:gd name="connsiteY1" fmla="*/ 131681 h 138616"/>
                    <a:gd name="connsiteX2" fmla="*/ 69356 w 110968"/>
                    <a:gd name="connsiteY2" fmla="*/ 62323 h 138616"/>
                    <a:gd name="connsiteX3" fmla="*/ 76292 w 110968"/>
                    <a:gd name="connsiteY3" fmla="*/ 55387 h 138616"/>
                    <a:gd name="connsiteX4" fmla="*/ 88749 w 110968"/>
                    <a:gd name="connsiteY4" fmla="*/ 55387 h 138616"/>
                    <a:gd name="connsiteX5" fmla="*/ 55484 w 110968"/>
                    <a:gd name="connsiteY5" fmla="*/ 17370 h 138616"/>
                    <a:gd name="connsiteX6" fmla="*/ 22220 w 110968"/>
                    <a:gd name="connsiteY6" fmla="*/ 55387 h 138616"/>
                    <a:gd name="connsiteX7" fmla="*/ 48549 w 110968"/>
                    <a:gd name="connsiteY7" fmla="*/ 55387 h 138616"/>
                    <a:gd name="connsiteX8" fmla="*/ 55484 w 110968"/>
                    <a:gd name="connsiteY8" fmla="*/ 62323 h 138616"/>
                    <a:gd name="connsiteX9" fmla="*/ 48549 w 110968"/>
                    <a:gd name="connsiteY9" fmla="*/ 69259 h 138616"/>
                    <a:gd name="connsiteX10" fmla="*/ 6934 w 110968"/>
                    <a:gd name="connsiteY10" fmla="*/ 69259 h 138616"/>
                    <a:gd name="connsiteX11" fmla="*/ 623 w 110968"/>
                    <a:gd name="connsiteY11" fmla="*/ 65188 h 138616"/>
                    <a:gd name="connsiteX12" fmla="*/ 1714 w 110968"/>
                    <a:gd name="connsiteY12" fmla="*/ 57757 h 138616"/>
                    <a:gd name="connsiteX13" fmla="*/ 50261 w 110968"/>
                    <a:gd name="connsiteY13" fmla="*/ 2267 h 138616"/>
                    <a:gd name="connsiteX14" fmla="*/ 60704 w 110968"/>
                    <a:gd name="connsiteY14" fmla="*/ 2267 h 138616"/>
                    <a:gd name="connsiteX15" fmla="*/ 109254 w 110968"/>
                    <a:gd name="connsiteY15" fmla="*/ 57753 h 138616"/>
                    <a:gd name="connsiteX16" fmla="*/ 110346 w 110968"/>
                    <a:gd name="connsiteY16" fmla="*/ 65184 h 138616"/>
                    <a:gd name="connsiteX17" fmla="*/ 104035 w 110968"/>
                    <a:gd name="connsiteY17" fmla="*/ 69255 h 138616"/>
                    <a:gd name="connsiteX18" fmla="*/ 83227 w 110968"/>
                    <a:gd name="connsiteY18" fmla="*/ 69255 h 138616"/>
                    <a:gd name="connsiteX19" fmla="*/ 83227 w 110968"/>
                    <a:gd name="connsiteY19" fmla="*/ 131677 h 138616"/>
                    <a:gd name="connsiteX20" fmla="*/ 76292 w 110968"/>
                    <a:gd name="connsiteY20" fmla="*/ 138616 h 13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968" h="138616">
                      <a:moveTo>
                        <a:pt x="76292" y="138616"/>
                      </a:moveTo>
                      <a:cubicBezTo>
                        <a:pt x="72458" y="138616"/>
                        <a:pt x="69356" y="135514"/>
                        <a:pt x="69356" y="131681"/>
                      </a:cubicBezTo>
                      <a:lnTo>
                        <a:pt x="69356" y="62323"/>
                      </a:lnTo>
                      <a:cubicBezTo>
                        <a:pt x="69356" y="58489"/>
                        <a:pt x="72458" y="55387"/>
                        <a:pt x="76292" y="55387"/>
                      </a:cubicBezTo>
                      <a:lnTo>
                        <a:pt x="88749" y="55387"/>
                      </a:lnTo>
                      <a:lnTo>
                        <a:pt x="55484" y="17370"/>
                      </a:lnTo>
                      <a:lnTo>
                        <a:pt x="22220" y="55387"/>
                      </a:lnTo>
                      <a:lnTo>
                        <a:pt x="48549" y="55387"/>
                      </a:lnTo>
                      <a:cubicBezTo>
                        <a:pt x="52383" y="55387"/>
                        <a:pt x="55484" y="58489"/>
                        <a:pt x="55484" y="62323"/>
                      </a:cubicBezTo>
                      <a:cubicBezTo>
                        <a:pt x="55484" y="66157"/>
                        <a:pt x="52383" y="69259"/>
                        <a:pt x="48549" y="69259"/>
                      </a:cubicBezTo>
                      <a:lnTo>
                        <a:pt x="6934" y="69259"/>
                      </a:lnTo>
                      <a:cubicBezTo>
                        <a:pt x="4213" y="69259"/>
                        <a:pt x="1747" y="67668"/>
                        <a:pt x="623" y="65188"/>
                      </a:cubicBezTo>
                      <a:cubicBezTo>
                        <a:pt x="-508" y="62707"/>
                        <a:pt x="-73" y="59803"/>
                        <a:pt x="1714" y="57757"/>
                      </a:cubicBezTo>
                      <a:lnTo>
                        <a:pt x="50261" y="2267"/>
                      </a:lnTo>
                      <a:cubicBezTo>
                        <a:pt x="52903" y="-756"/>
                        <a:pt x="58066" y="-756"/>
                        <a:pt x="60704" y="2267"/>
                      </a:cubicBezTo>
                      <a:lnTo>
                        <a:pt x="109254" y="57753"/>
                      </a:lnTo>
                      <a:cubicBezTo>
                        <a:pt x="111042" y="59799"/>
                        <a:pt x="111477" y="62704"/>
                        <a:pt x="110346" y="65184"/>
                      </a:cubicBezTo>
                      <a:cubicBezTo>
                        <a:pt x="109222" y="67665"/>
                        <a:pt x="106756" y="69255"/>
                        <a:pt x="104035" y="69255"/>
                      </a:cubicBezTo>
                      <a:lnTo>
                        <a:pt x="83227" y="69255"/>
                      </a:lnTo>
                      <a:lnTo>
                        <a:pt x="83227" y="131677"/>
                      </a:lnTo>
                      <a:cubicBezTo>
                        <a:pt x="83227" y="135511"/>
                        <a:pt x="80126" y="138616"/>
                        <a:pt x="76292" y="138616"/>
                      </a:cubicBezTo>
                      <a:close/>
                    </a:path>
                  </a:pathLst>
                </a:custGeom>
                <a:grpFill/>
                <a:ln w="358"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91" name="Freihandform: Form 400">
                  <a:extLst>
                    <a:ext uri="{FF2B5EF4-FFF2-40B4-BE49-F238E27FC236}">
                      <a16:creationId xmlns:a16="http://schemas.microsoft.com/office/drawing/2014/main" id="{2D732AC9-408D-43E4-AD05-1CB6DDC19F2C}"/>
                    </a:ext>
                  </a:extLst>
                </p:cNvPr>
                <p:cNvSpPr/>
                <p:nvPr/>
              </p:nvSpPr>
              <p:spPr>
                <a:xfrm>
                  <a:off x="734035" y="1806142"/>
                  <a:ext cx="13871" cy="27742"/>
                </a:xfrm>
                <a:custGeom>
                  <a:avLst/>
                  <a:gdLst>
                    <a:gd name="connsiteX0" fmla="*/ 6936 w 13871"/>
                    <a:gd name="connsiteY0" fmla="*/ 27743 h 27742"/>
                    <a:gd name="connsiteX1" fmla="*/ 0 w 13871"/>
                    <a:gd name="connsiteY1" fmla="*/ 20807 h 27742"/>
                    <a:gd name="connsiteX2" fmla="*/ 0 w 13871"/>
                    <a:gd name="connsiteY2" fmla="*/ 6936 h 27742"/>
                    <a:gd name="connsiteX3" fmla="*/ 6936 w 13871"/>
                    <a:gd name="connsiteY3" fmla="*/ 0 h 27742"/>
                    <a:gd name="connsiteX4" fmla="*/ 13872 w 13871"/>
                    <a:gd name="connsiteY4" fmla="*/ 6936 h 27742"/>
                    <a:gd name="connsiteX5" fmla="*/ 13872 w 13871"/>
                    <a:gd name="connsiteY5" fmla="*/ 20807 h 27742"/>
                    <a:gd name="connsiteX6" fmla="*/ 6936 w 13871"/>
                    <a:gd name="connsiteY6" fmla="*/ 27743 h 2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71" h="27742">
                      <a:moveTo>
                        <a:pt x="6936" y="27743"/>
                      </a:moveTo>
                      <a:cubicBezTo>
                        <a:pt x="3102" y="27743"/>
                        <a:pt x="0" y="24641"/>
                        <a:pt x="0" y="20807"/>
                      </a:cubicBezTo>
                      <a:lnTo>
                        <a:pt x="0" y="6936"/>
                      </a:lnTo>
                      <a:cubicBezTo>
                        <a:pt x="0" y="3102"/>
                        <a:pt x="3102" y="0"/>
                        <a:pt x="6936" y="0"/>
                      </a:cubicBezTo>
                      <a:cubicBezTo>
                        <a:pt x="10770" y="0"/>
                        <a:pt x="13872" y="3102"/>
                        <a:pt x="13872" y="6936"/>
                      </a:cubicBezTo>
                      <a:lnTo>
                        <a:pt x="13872" y="20807"/>
                      </a:lnTo>
                      <a:cubicBezTo>
                        <a:pt x="13872" y="24641"/>
                        <a:pt x="10770" y="27743"/>
                        <a:pt x="6936" y="27743"/>
                      </a:cubicBezTo>
                      <a:close/>
                    </a:path>
                  </a:pathLst>
                </a:custGeom>
                <a:grpFill/>
                <a:ln w="358"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86" name="Freihandform: Form 395">
                <a:extLst>
                  <a:ext uri="{FF2B5EF4-FFF2-40B4-BE49-F238E27FC236}">
                    <a16:creationId xmlns:a16="http://schemas.microsoft.com/office/drawing/2014/main" id="{CEA069E0-40AA-9D94-E5B5-720BC1AB1E3B}"/>
                  </a:ext>
                </a:extLst>
              </p:cNvPr>
              <p:cNvSpPr/>
              <p:nvPr/>
            </p:nvSpPr>
            <p:spPr>
              <a:xfrm>
                <a:off x="814635" y="2146487"/>
                <a:ext cx="393976" cy="98493"/>
              </a:xfrm>
              <a:custGeom>
                <a:avLst/>
                <a:gdLst>
                  <a:gd name="connsiteX0" fmla="*/ 138719 w 277429"/>
                  <a:gd name="connsiteY0" fmla="*/ 69358 h 69357"/>
                  <a:gd name="connsiteX1" fmla="*/ 0 w 277429"/>
                  <a:gd name="connsiteY1" fmla="*/ 31211 h 69357"/>
                  <a:gd name="connsiteX2" fmla="*/ 54585 w 277429"/>
                  <a:gd name="connsiteY2" fmla="*/ 122 h 69357"/>
                  <a:gd name="connsiteX3" fmla="*/ 62705 w 277429"/>
                  <a:gd name="connsiteY3" fmla="*/ 5629 h 69357"/>
                  <a:gd name="connsiteX4" fmla="*/ 57198 w 277429"/>
                  <a:gd name="connsiteY4" fmla="*/ 13750 h 69357"/>
                  <a:gd name="connsiteX5" fmla="*/ 13868 w 277429"/>
                  <a:gd name="connsiteY5" fmla="*/ 31211 h 69357"/>
                  <a:gd name="connsiteX6" fmla="*/ 138715 w 277429"/>
                  <a:gd name="connsiteY6" fmla="*/ 55486 h 69357"/>
                  <a:gd name="connsiteX7" fmla="*/ 263562 w 277429"/>
                  <a:gd name="connsiteY7" fmla="*/ 31211 h 69357"/>
                  <a:gd name="connsiteX8" fmla="*/ 220232 w 277429"/>
                  <a:gd name="connsiteY8" fmla="*/ 13750 h 69357"/>
                  <a:gd name="connsiteX9" fmla="*/ 214725 w 277429"/>
                  <a:gd name="connsiteY9" fmla="*/ 5629 h 69357"/>
                  <a:gd name="connsiteX10" fmla="*/ 222845 w 277429"/>
                  <a:gd name="connsiteY10" fmla="*/ 122 h 69357"/>
                  <a:gd name="connsiteX11" fmla="*/ 277430 w 277429"/>
                  <a:gd name="connsiteY11" fmla="*/ 31211 h 69357"/>
                  <a:gd name="connsiteX12" fmla="*/ 138719 w 277429"/>
                  <a:gd name="connsiteY12" fmla="*/ 69358 h 69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7429" h="69357">
                    <a:moveTo>
                      <a:pt x="138719" y="69358"/>
                    </a:moveTo>
                    <a:cubicBezTo>
                      <a:pt x="90736" y="69358"/>
                      <a:pt x="0" y="61384"/>
                      <a:pt x="0" y="31211"/>
                    </a:cubicBezTo>
                    <a:cubicBezTo>
                      <a:pt x="0" y="17516"/>
                      <a:pt x="18370" y="7058"/>
                      <a:pt x="54585" y="122"/>
                    </a:cubicBezTo>
                    <a:cubicBezTo>
                      <a:pt x="58329" y="-589"/>
                      <a:pt x="61987" y="1871"/>
                      <a:pt x="62705" y="5629"/>
                    </a:cubicBezTo>
                    <a:cubicBezTo>
                      <a:pt x="63423" y="9395"/>
                      <a:pt x="60957" y="13024"/>
                      <a:pt x="57198" y="13750"/>
                    </a:cubicBezTo>
                    <a:cubicBezTo>
                      <a:pt x="21579" y="20563"/>
                      <a:pt x="13868" y="29391"/>
                      <a:pt x="13868" y="31211"/>
                    </a:cubicBezTo>
                    <a:cubicBezTo>
                      <a:pt x="13868" y="38474"/>
                      <a:pt x="56344" y="55486"/>
                      <a:pt x="138715" y="55486"/>
                    </a:cubicBezTo>
                    <a:cubicBezTo>
                      <a:pt x="221086" y="55486"/>
                      <a:pt x="263562" y="38474"/>
                      <a:pt x="263562" y="31211"/>
                    </a:cubicBezTo>
                    <a:cubicBezTo>
                      <a:pt x="263562" y="29387"/>
                      <a:pt x="255854" y="20563"/>
                      <a:pt x="220232" y="13750"/>
                    </a:cubicBezTo>
                    <a:cubicBezTo>
                      <a:pt x="216473" y="13024"/>
                      <a:pt x="214007" y="9395"/>
                      <a:pt x="214725" y="5629"/>
                    </a:cubicBezTo>
                    <a:cubicBezTo>
                      <a:pt x="215442" y="1871"/>
                      <a:pt x="219025" y="-589"/>
                      <a:pt x="222845" y="122"/>
                    </a:cubicBezTo>
                    <a:cubicBezTo>
                      <a:pt x="259060" y="7058"/>
                      <a:pt x="277430" y="17516"/>
                      <a:pt x="277430" y="31211"/>
                    </a:cubicBezTo>
                    <a:cubicBezTo>
                      <a:pt x="277437" y="61384"/>
                      <a:pt x="186702" y="69358"/>
                      <a:pt x="138719" y="69358"/>
                    </a:cubicBezTo>
                    <a:close/>
                  </a:path>
                </a:pathLst>
              </a:custGeom>
              <a:grpFill/>
              <a:ln w="358"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grpSp>
      <p:grpSp>
        <p:nvGrpSpPr>
          <p:cNvPr id="17" name="Gruppieren 108">
            <a:extLst>
              <a:ext uri="{FF2B5EF4-FFF2-40B4-BE49-F238E27FC236}">
                <a16:creationId xmlns:a16="http://schemas.microsoft.com/office/drawing/2014/main" id="{062FF057-06AF-2E4C-EAAE-A3105A22535E}"/>
              </a:ext>
            </a:extLst>
          </p:cNvPr>
          <p:cNvGrpSpPr/>
          <p:nvPr/>
        </p:nvGrpSpPr>
        <p:grpSpPr>
          <a:xfrm>
            <a:off x="6101761" y="1491491"/>
            <a:ext cx="908214" cy="877043"/>
            <a:chOff x="6101742" y="1491470"/>
            <a:chExt cx="731589" cy="706473"/>
          </a:xfrm>
        </p:grpSpPr>
        <p:sp>
          <p:nvSpPr>
            <p:cNvPr id="57" name="Freihandform: Form 81">
              <a:extLst>
                <a:ext uri="{FF2B5EF4-FFF2-40B4-BE49-F238E27FC236}">
                  <a16:creationId xmlns:a16="http://schemas.microsoft.com/office/drawing/2014/main" id="{CF7F0B64-9D60-C0AB-3E03-0DD5068E4943}"/>
                </a:ext>
              </a:extLst>
            </p:cNvPr>
            <p:cNvSpPr/>
            <p:nvPr/>
          </p:nvSpPr>
          <p:spPr>
            <a:xfrm>
              <a:off x="6298875" y="2183107"/>
              <a:ext cx="341505" cy="14836"/>
            </a:xfrm>
            <a:custGeom>
              <a:avLst/>
              <a:gdLst>
                <a:gd name="connsiteX0" fmla="*/ 294402 w 300938"/>
                <a:gd name="connsiteY0" fmla="*/ 13074 h 13074"/>
                <a:gd name="connsiteX1" fmla="*/ 6537 w 300938"/>
                <a:gd name="connsiteY1" fmla="*/ 13074 h 13074"/>
                <a:gd name="connsiteX2" fmla="*/ 0 w 300938"/>
                <a:gd name="connsiteY2" fmla="*/ 6537 h 13074"/>
                <a:gd name="connsiteX3" fmla="*/ 6537 w 300938"/>
                <a:gd name="connsiteY3" fmla="*/ 0 h 13074"/>
                <a:gd name="connsiteX4" fmla="*/ 294402 w 300938"/>
                <a:gd name="connsiteY4" fmla="*/ 0 h 13074"/>
                <a:gd name="connsiteX5" fmla="*/ 300939 w 300938"/>
                <a:gd name="connsiteY5" fmla="*/ 6537 h 13074"/>
                <a:gd name="connsiteX6" fmla="*/ 294402 w 300938"/>
                <a:gd name="connsiteY6" fmla="*/ 13074 h 13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938" h="13074">
                  <a:moveTo>
                    <a:pt x="294402" y="13074"/>
                  </a:moveTo>
                  <a:lnTo>
                    <a:pt x="6537" y="13074"/>
                  </a:lnTo>
                  <a:cubicBezTo>
                    <a:pt x="2930" y="13074"/>
                    <a:pt x="0" y="10144"/>
                    <a:pt x="0" y="6537"/>
                  </a:cubicBezTo>
                  <a:cubicBezTo>
                    <a:pt x="0" y="2930"/>
                    <a:pt x="2930" y="0"/>
                    <a:pt x="6537" y="0"/>
                  </a:cubicBezTo>
                  <a:lnTo>
                    <a:pt x="294402" y="0"/>
                  </a:lnTo>
                  <a:cubicBezTo>
                    <a:pt x="298008" y="0"/>
                    <a:pt x="300939" y="2930"/>
                    <a:pt x="300939" y="6537"/>
                  </a:cubicBezTo>
                  <a:cubicBezTo>
                    <a:pt x="300939" y="10144"/>
                    <a:pt x="298008" y="13074"/>
                    <a:pt x="294402" y="13074"/>
                  </a:cubicBezTo>
                  <a:close/>
                </a:path>
              </a:pathLst>
            </a:custGeom>
            <a:solidFill>
              <a:schemeClr val="tx2"/>
            </a:solidFill>
            <a:ln w="2810"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58" name="Freihandform: Form 83">
              <a:extLst>
                <a:ext uri="{FF2B5EF4-FFF2-40B4-BE49-F238E27FC236}">
                  <a16:creationId xmlns:a16="http://schemas.microsoft.com/office/drawing/2014/main" id="{E0FE0819-DD39-C02F-5045-AAE60748D559}"/>
                </a:ext>
              </a:extLst>
            </p:cNvPr>
            <p:cNvSpPr/>
            <p:nvPr/>
          </p:nvSpPr>
          <p:spPr>
            <a:xfrm>
              <a:off x="6358286" y="1841600"/>
              <a:ext cx="222714" cy="326637"/>
            </a:xfrm>
            <a:custGeom>
              <a:avLst/>
              <a:gdLst>
                <a:gd name="connsiteX0" fmla="*/ 196258 w 196258"/>
                <a:gd name="connsiteY0" fmla="*/ 287836 h 287836"/>
                <a:gd name="connsiteX1" fmla="*/ 0 w 196258"/>
                <a:gd name="connsiteY1" fmla="*/ 287836 h 287836"/>
                <a:gd name="connsiteX2" fmla="*/ 0 w 196258"/>
                <a:gd name="connsiteY2" fmla="*/ 6537 h 287836"/>
                <a:gd name="connsiteX3" fmla="*/ 6537 w 196258"/>
                <a:gd name="connsiteY3" fmla="*/ 0 h 287836"/>
                <a:gd name="connsiteX4" fmla="*/ 13075 w 196258"/>
                <a:gd name="connsiteY4" fmla="*/ 6537 h 287836"/>
                <a:gd name="connsiteX5" fmla="*/ 13075 w 196258"/>
                <a:gd name="connsiteY5" fmla="*/ 274762 h 287836"/>
                <a:gd name="connsiteX6" fmla="*/ 183184 w 196258"/>
                <a:gd name="connsiteY6" fmla="*/ 274762 h 287836"/>
                <a:gd name="connsiteX7" fmla="*/ 183184 w 196258"/>
                <a:gd name="connsiteY7" fmla="*/ 6537 h 287836"/>
                <a:gd name="connsiteX8" fmla="*/ 189721 w 196258"/>
                <a:gd name="connsiteY8" fmla="*/ 0 h 287836"/>
                <a:gd name="connsiteX9" fmla="*/ 196258 w 196258"/>
                <a:gd name="connsiteY9" fmla="*/ 6537 h 287836"/>
                <a:gd name="connsiteX10" fmla="*/ 196258 w 196258"/>
                <a:gd name="connsiteY10" fmla="*/ 287836 h 287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6258" h="287836">
                  <a:moveTo>
                    <a:pt x="196258" y="287836"/>
                  </a:moveTo>
                  <a:lnTo>
                    <a:pt x="0" y="287836"/>
                  </a:lnTo>
                  <a:lnTo>
                    <a:pt x="0" y="6537"/>
                  </a:lnTo>
                  <a:cubicBezTo>
                    <a:pt x="0" y="2930"/>
                    <a:pt x="2930" y="0"/>
                    <a:pt x="6537" y="0"/>
                  </a:cubicBezTo>
                  <a:cubicBezTo>
                    <a:pt x="10144" y="0"/>
                    <a:pt x="13075" y="2930"/>
                    <a:pt x="13075" y="6537"/>
                  </a:cubicBezTo>
                  <a:lnTo>
                    <a:pt x="13075" y="274762"/>
                  </a:lnTo>
                  <a:lnTo>
                    <a:pt x="183184" y="274762"/>
                  </a:lnTo>
                  <a:lnTo>
                    <a:pt x="183184" y="6537"/>
                  </a:lnTo>
                  <a:cubicBezTo>
                    <a:pt x="183184" y="2930"/>
                    <a:pt x="186114" y="0"/>
                    <a:pt x="189721" y="0"/>
                  </a:cubicBezTo>
                  <a:cubicBezTo>
                    <a:pt x="193328" y="0"/>
                    <a:pt x="196258" y="2930"/>
                    <a:pt x="196258" y="6537"/>
                  </a:cubicBezTo>
                  <a:lnTo>
                    <a:pt x="196258" y="287836"/>
                  </a:lnTo>
                  <a:close/>
                </a:path>
              </a:pathLst>
            </a:custGeom>
            <a:solidFill>
              <a:schemeClr val="tx2"/>
            </a:solidFill>
            <a:ln w="2810"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59" name="Freihandform: Form 84">
              <a:extLst>
                <a:ext uri="{FF2B5EF4-FFF2-40B4-BE49-F238E27FC236}">
                  <a16:creationId xmlns:a16="http://schemas.microsoft.com/office/drawing/2014/main" id="{40C5B56F-185B-62B6-B084-3755F35C832B}"/>
                </a:ext>
              </a:extLst>
            </p:cNvPr>
            <p:cNvSpPr/>
            <p:nvPr/>
          </p:nvSpPr>
          <p:spPr>
            <a:xfrm>
              <a:off x="6573582" y="1915849"/>
              <a:ext cx="133629" cy="274676"/>
            </a:xfrm>
            <a:custGeom>
              <a:avLst/>
              <a:gdLst>
                <a:gd name="connsiteX0" fmla="*/ 117755 w 117755"/>
                <a:gd name="connsiteY0" fmla="*/ 242047 h 242047"/>
                <a:gd name="connsiteX1" fmla="*/ 104681 w 117755"/>
                <a:gd name="connsiteY1" fmla="*/ 242047 h 242047"/>
                <a:gd name="connsiteX2" fmla="*/ 104681 w 117755"/>
                <a:gd name="connsiteY2" fmla="*/ 13074 h 242047"/>
                <a:gd name="connsiteX3" fmla="*/ 0 w 117755"/>
                <a:gd name="connsiteY3" fmla="*/ 13074 h 242047"/>
                <a:gd name="connsiteX4" fmla="*/ 0 w 117755"/>
                <a:gd name="connsiteY4" fmla="*/ 0 h 242047"/>
                <a:gd name="connsiteX5" fmla="*/ 111218 w 117755"/>
                <a:gd name="connsiteY5" fmla="*/ 0 h 242047"/>
                <a:gd name="connsiteX6" fmla="*/ 117755 w 117755"/>
                <a:gd name="connsiteY6" fmla="*/ 6537 h 242047"/>
                <a:gd name="connsiteX7" fmla="*/ 117755 w 117755"/>
                <a:gd name="connsiteY7" fmla="*/ 242047 h 24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755" h="242047">
                  <a:moveTo>
                    <a:pt x="117755" y="242047"/>
                  </a:moveTo>
                  <a:lnTo>
                    <a:pt x="104681" y="242047"/>
                  </a:lnTo>
                  <a:lnTo>
                    <a:pt x="104681" y="13074"/>
                  </a:lnTo>
                  <a:lnTo>
                    <a:pt x="0" y="13074"/>
                  </a:lnTo>
                  <a:lnTo>
                    <a:pt x="0" y="0"/>
                  </a:lnTo>
                  <a:lnTo>
                    <a:pt x="111218" y="0"/>
                  </a:lnTo>
                  <a:cubicBezTo>
                    <a:pt x="114825" y="0"/>
                    <a:pt x="117755" y="2930"/>
                    <a:pt x="117755" y="6537"/>
                  </a:cubicBezTo>
                  <a:lnTo>
                    <a:pt x="117755" y="242047"/>
                  </a:lnTo>
                  <a:close/>
                </a:path>
              </a:pathLst>
            </a:custGeom>
            <a:solidFill>
              <a:schemeClr val="tx2"/>
            </a:solidFill>
            <a:ln w="2810"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60" name="Freihandform: Form 85">
              <a:extLst>
                <a:ext uri="{FF2B5EF4-FFF2-40B4-BE49-F238E27FC236}">
                  <a16:creationId xmlns:a16="http://schemas.microsoft.com/office/drawing/2014/main" id="{E713B5DF-9A53-CA85-909E-06D0646BE2DD}"/>
                </a:ext>
              </a:extLst>
            </p:cNvPr>
            <p:cNvSpPr/>
            <p:nvPr/>
          </p:nvSpPr>
          <p:spPr>
            <a:xfrm>
              <a:off x="6566164" y="1915849"/>
              <a:ext cx="163334" cy="14836"/>
            </a:xfrm>
            <a:custGeom>
              <a:avLst/>
              <a:gdLst>
                <a:gd name="connsiteX0" fmla="*/ 6537 w 143932"/>
                <a:gd name="connsiteY0" fmla="*/ 13074 h 13074"/>
                <a:gd name="connsiteX1" fmla="*/ 0 w 143932"/>
                <a:gd name="connsiteY1" fmla="*/ 6537 h 13074"/>
                <a:gd name="connsiteX2" fmla="*/ 6537 w 143932"/>
                <a:gd name="connsiteY2" fmla="*/ 0 h 13074"/>
                <a:gd name="connsiteX3" fmla="*/ 137395 w 143932"/>
                <a:gd name="connsiteY3" fmla="*/ 0 h 13074"/>
                <a:gd name="connsiteX4" fmla="*/ 143932 w 143932"/>
                <a:gd name="connsiteY4" fmla="*/ 6537 h 13074"/>
                <a:gd name="connsiteX5" fmla="*/ 137395 w 143932"/>
                <a:gd name="connsiteY5" fmla="*/ 13074 h 13074"/>
                <a:gd name="connsiteX6" fmla="*/ 6537 w 143932"/>
                <a:gd name="connsiteY6" fmla="*/ 13074 h 13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932" h="13074">
                  <a:moveTo>
                    <a:pt x="6537" y="13074"/>
                  </a:moveTo>
                  <a:cubicBezTo>
                    <a:pt x="2930" y="13074"/>
                    <a:pt x="0" y="10144"/>
                    <a:pt x="0" y="6537"/>
                  </a:cubicBezTo>
                  <a:cubicBezTo>
                    <a:pt x="0" y="2930"/>
                    <a:pt x="2930" y="0"/>
                    <a:pt x="6537" y="0"/>
                  </a:cubicBezTo>
                  <a:lnTo>
                    <a:pt x="137395" y="0"/>
                  </a:lnTo>
                  <a:cubicBezTo>
                    <a:pt x="141002" y="0"/>
                    <a:pt x="143932" y="2930"/>
                    <a:pt x="143932" y="6537"/>
                  </a:cubicBezTo>
                  <a:cubicBezTo>
                    <a:pt x="143932" y="10144"/>
                    <a:pt x="141002" y="13074"/>
                    <a:pt x="137395" y="13074"/>
                  </a:cubicBezTo>
                  <a:lnTo>
                    <a:pt x="6537" y="13074"/>
                  </a:lnTo>
                  <a:close/>
                </a:path>
              </a:pathLst>
            </a:custGeom>
            <a:solidFill>
              <a:schemeClr val="tx2"/>
            </a:solidFill>
            <a:ln w="2810"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61" name="Freihandform: Form 86">
              <a:extLst>
                <a:ext uri="{FF2B5EF4-FFF2-40B4-BE49-F238E27FC236}">
                  <a16:creationId xmlns:a16="http://schemas.microsoft.com/office/drawing/2014/main" id="{BAA7ACDC-6281-7BEF-1568-68CBB5821BB1}"/>
                </a:ext>
              </a:extLst>
            </p:cNvPr>
            <p:cNvSpPr/>
            <p:nvPr/>
          </p:nvSpPr>
          <p:spPr>
            <a:xfrm>
              <a:off x="6232076" y="1915849"/>
              <a:ext cx="133629" cy="274676"/>
            </a:xfrm>
            <a:custGeom>
              <a:avLst/>
              <a:gdLst>
                <a:gd name="connsiteX0" fmla="*/ 13075 w 117755"/>
                <a:gd name="connsiteY0" fmla="*/ 242047 h 242047"/>
                <a:gd name="connsiteX1" fmla="*/ 0 w 117755"/>
                <a:gd name="connsiteY1" fmla="*/ 242047 h 242047"/>
                <a:gd name="connsiteX2" fmla="*/ 0 w 117755"/>
                <a:gd name="connsiteY2" fmla="*/ 6537 h 242047"/>
                <a:gd name="connsiteX3" fmla="*/ 6537 w 117755"/>
                <a:gd name="connsiteY3" fmla="*/ 0 h 242047"/>
                <a:gd name="connsiteX4" fmla="*/ 117755 w 117755"/>
                <a:gd name="connsiteY4" fmla="*/ 0 h 242047"/>
                <a:gd name="connsiteX5" fmla="*/ 117755 w 117755"/>
                <a:gd name="connsiteY5" fmla="*/ 13074 h 242047"/>
                <a:gd name="connsiteX6" fmla="*/ 13075 w 117755"/>
                <a:gd name="connsiteY6" fmla="*/ 13074 h 242047"/>
                <a:gd name="connsiteX7" fmla="*/ 13075 w 117755"/>
                <a:gd name="connsiteY7" fmla="*/ 242047 h 24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755" h="242047">
                  <a:moveTo>
                    <a:pt x="13075" y="242047"/>
                  </a:moveTo>
                  <a:lnTo>
                    <a:pt x="0" y="242047"/>
                  </a:lnTo>
                  <a:lnTo>
                    <a:pt x="0" y="6537"/>
                  </a:lnTo>
                  <a:cubicBezTo>
                    <a:pt x="0" y="2930"/>
                    <a:pt x="2930" y="0"/>
                    <a:pt x="6537" y="0"/>
                  </a:cubicBezTo>
                  <a:lnTo>
                    <a:pt x="117755" y="0"/>
                  </a:lnTo>
                  <a:lnTo>
                    <a:pt x="117755" y="13074"/>
                  </a:lnTo>
                  <a:lnTo>
                    <a:pt x="13075" y="13074"/>
                  </a:lnTo>
                  <a:lnTo>
                    <a:pt x="13075" y="242047"/>
                  </a:lnTo>
                  <a:close/>
                </a:path>
              </a:pathLst>
            </a:custGeom>
            <a:solidFill>
              <a:schemeClr val="tx2"/>
            </a:solidFill>
            <a:ln w="2810"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62" name="Freihandform: Form 87">
              <a:extLst>
                <a:ext uri="{FF2B5EF4-FFF2-40B4-BE49-F238E27FC236}">
                  <a16:creationId xmlns:a16="http://schemas.microsoft.com/office/drawing/2014/main" id="{E85D211B-5770-B38A-1456-09D7EB540E08}"/>
                </a:ext>
              </a:extLst>
            </p:cNvPr>
            <p:cNvSpPr/>
            <p:nvPr/>
          </p:nvSpPr>
          <p:spPr>
            <a:xfrm>
              <a:off x="6209788" y="1915817"/>
              <a:ext cx="163334" cy="14868"/>
            </a:xfrm>
            <a:custGeom>
              <a:avLst/>
              <a:gdLst>
                <a:gd name="connsiteX0" fmla="*/ 137395 w 143932"/>
                <a:gd name="connsiteY0" fmla="*/ 13103 h 13102"/>
                <a:gd name="connsiteX1" fmla="*/ 137395 w 143932"/>
                <a:gd name="connsiteY1" fmla="*/ 13103 h 13102"/>
                <a:gd name="connsiteX2" fmla="*/ 6537 w 143932"/>
                <a:gd name="connsiteY2" fmla="*/ 13074 h 13102"/>
                <a:gd name="connsiteX3" fmla="*/ 0 w 143932"/>
                <a:gd name="connsiteY3" fmla="*/ 6537 h 13102"/>
                <a:gd name="connsiteX4" fmla="*/ 6537 w 143932"/>
                <a:gd name="connsiteY4" fmla="*/ 0 h 13102"/>
                <a:gd name="connsiteX5" fmla="*/ 6537 w 143932"/>
                <a:gd name="connsiteY5" fmla="*/ 0 h 13102"/>
                <a:gd name="connsiteX6" fmla="*/ 137395 w 143932"/>
                <a:gd name="connsiteY6" fmla="*/ 28 h 13102"/>
                <a:gd name="connsiteX7" fmla="*/ 143932 w 143932"/>
                <a:gd name="connsiteY7" fmla="*/ 6565 h 13102"/>
                <a:gd name="connsiteX8" fmla="*/ 137395 w 143932"/>
                <a:gd name="connsiteY8" fmla="*/ 13103 h 13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932" h="13102">
                  <a:moveTo>
                    <a:pt x="137395" y="13103"/>
                  </a:moveTo>
                  <a:lnTo>
                    <a:pt x="137395" y="13103"/>
                  </a:lnTo>
                  <a:lnTo>
                    <a:pt x="6537" y="13074"/>
                  </a:lnTo>
                  <a:cubicBezTo>
                    <a:pt x="2930" y="13074"/>
                    <a:pt x="0" y="10144"/>
                    <a:pt x="0" y="6537"/>
                  </a:cubicBezTo>
                  <a:cubicBezTo>
                    <a:pt x="0" y="2930"/>
                    <a:pt x="2930" y="0"/>
                    <a:pt x="6537" y="0"/>
                  </a:cubicBezTo>
                  <a:lnTo>
                    <a:pt x="6537" y="0"/>
                  </a:lnTo>
                  <a:lnTo>
                    <a:pt x="137395" y="28"/>
                  </a:lnTo>
                  <a:cubicBezTo>
                    <a:pt x="141002" y="28"/>
                    <a:pt x="143932" y="2959"/>
                    <a:pt x="143932" y="6565"/>
                  </a:cubicBezTo>
                  <a:cubicBezTo>
                    <a:pt x="143932" y="10172"/>
                    <a:pt x="141002" y="13103"/>
                    <a:pt x="137395" y="13103"/>
                  </a:cubicBezTo>
                  <a:close/>
                </a:path>
              </a:pathLst>
            </a:custGeom>
            <a:solidFill>
              <a:schemeClr val="tx2"/>
            </a:solidFill>
            <a:ln w="2810"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63" name="Freihandform: Form 88">
              <a:extLst>
                <a:ext uri="{FF2B5EF4-FFF2-40B4-BE49-F238E27FC236}">
                  <a16:creationId xmlns:a16="http://schemas.microsoft.com/office/drawing/2014/main" id="{EC9BFEC5-A5EF-0961-13AE-383A26AD9F17}"/>
                </a:ext>
              </a:extLst>
            </p:cNvPr>
            <p:cNvSpPr/>
            <p:nvPr/>
          </p:nvSpPr>
          <p:spPr>
            <a:xfrm>
              <a:off x="6417666" y="2086570"/>
              <a:ext cx="103923" cy="81667"/>
            </a:xfrm>
            <a:custGeom>
              <a:avLst/>
              <a:gdLst>
                <a:gd name="connsiteX0" fmla="*/ 85041 w 91578"/>
                <a:gd name="connsiteY0" fmla="*/ 71966 h 71966"/>
                <a:gd name="connsiteX1" fmla="*/ 6537 w 91578"/>
                <a:gd name="connsiteY1" fmla="*/ 71966 h 71966"/>
                <a:gd name="connsiteX2" fmla="*/ 0 w 91578"/>
                <a:gd name="connsiteY2" fmla="*/ 65429 h 71966"/>
                <a:gd name="connsiteX3" fmla="*/ 0 w 91578"/>
                <a:gd name="connsiteY3" fmla="*/ 6537 h 71966"/>
                <a:gd name="connsiteX4" fmla="*/ 6537 w 91578"/>
                <a:gd name="connsiteY4" fmla="*/ 0 h 71966"/>
                <a:gd name="connsiteX5" fmla="*/ 85041 w 91578"/>
                <a:gd name="connsiteY5" fmla="*/ 0 h 71966"/>
                <a:gd name="connsiteX6" fmla="*/ 91578 w 91578"/>
                <a:gd name="connsiteY6" fmla="*/ 6537 h 71966"/>
                <a:gd name="connsiteX7" fmla="*/ 91578 w 91578"/>
                <a:gd name="connsiteY7" fmla="*/ 65429 h 71966"/>
                <a:gd name="connsiteX8" fmla="*/ 85041 w 91578"/>
                <a:gd name="connsiteY8" fmla="*/ 71966 h 71966"/>
                <a:gd name="connsiteX9" fmla="*/ 13074 w 91578"/>
                <a:gd name="connsiteY9" fmla="*/ 58892 h 71966"/>
                <a:gd name="connsiteX10" fmla="*/ 78503 w 91578"/>
                <a:gd name="connsiteY10" fmla="*/ 58892 h 71966"/>
                <a:gd name="connsiteX11" fmla="*/ 78503 w 91578"/>
                <a:gd name="connsiteY11" fmla="*/ 13103 h 71966"/>
                <a:gd name="connsiteX12" fmla="*/ 13074 w 91578"/>
                <a:gd name="connsiteY12" fmla="*/ 13103 h 71966"/>
                <a:gd name="connsiteX13" fmla="*/ 13074 w 91578"/>
                <a:gd name="connsiteY13" fmla="*/ 58892 h 7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578" h="71966">
                  <a:moveTo>
                    <a:pt x="85041" y="71966"/>
                  </a:moveTo>
                  <a:lnTo>
                    <a:pt x="6537" y="71966"/>
                  </a:lnTo>
                  <a:cubicBezTo>
                    <a:pt x="2930" y="71966"/>
                    <a:pt x="0" y="69036"/>
                    <a:pt x="0" y="65429"/>
                  </a:cubicBezTo>
                  <a:lnTo>
                    <a:pt x="0" y="6537"/>
                  </a:lnTo>
                  <a:cubicBezTo>
                    <a:pt x="0" y="2930"/>
                    <a:pt x="2930" y="0"/>
                    <a:pt x="6537" y="0"/>
                  </a:cubicBezTo>
                  <a:lnTo>
                    <a:pt x="85041" y="0"/>
                  </a:lnTo>
                  <a:cubicBezTo>
                    <a:pt x="88647" y="0"/>
                    <a:pt x="91578" y="2930"/>
                    <a:pt x="91578" y="6537"/>
                  </a:cubicBezTo>
                  <a:lnTo>
                    <a:pt x="91578" y="65429"/>
                  </a:lnTo>
                  <a:cubicBezTo>
                    <a:pt x="91606" y="69036"/>
                    <a:pt x="88676" y="71966"/>
                    <a:pt x="85041" y="71966"/>
                  </a:cubicBezTo>
                  <a:close/>
                  <a:moveTo>
                    <a:pt x="13074" y="58892"/>
                  </a:moveTo>
                  <a:lnTo>
                    <a:pt x="78503" y="58892"/>
                  </a:lnTo>
                  <a:lnTo>
                    <a:pt x="78503" y="13103"/>
                  </a:lnTo>
                  <a:lnTo>
                    <a:pt x="13074" y="13103"/>
                  </a:lnTo>
                  <a:lnTo>
                    <a:pt x="13074" y="58892"/>
                  </a:lnTo>
                  <a:close/>
                </a:path>
              </a:pathLst>
            </a:custGeom>
            <a:solidFill>
              <a:schemeClr val="bg2"/>
            </a:solidFill>
            <a:ln w="2810"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64" name="Freihandform: Form 89">
              <a:extLst>
                <a:ext uri="{FF2B5EF4-FFF2-40B4-BE49-F238E27FC236}">
                  <a16:creationId xmlns:a16="http://schemas.microsoft.com/office/drawing/2014/main" id="{1C37AD42-5479-6B13-B03B-DA8EF0DDC37C}"/>
                </a:ext>
              </a:extLst>
            </p:cNvPr>
            <p:cNvSpPr/>
            <p:nvPr/>
          </p:nvSpPr>
          <p:spPr>
            <a:xfrm>
              <a:off x="6462209" y="2086602"/>
              <a:ext cx="14836" cy="74216"/>
            </a:xfrm>
            <a:custGeom>
              <a:avLst/>
              <a:gdLst>
                <a:gd name="connsiteX0" fmla="*/ 6537 w 13074"/>
                <a:gd name="connsiteY0" fmla="*/ 65401 h 65400"/>
                <a:gd name="connsiteX1" fmla="*/ 0 w 13074"/>
                <a:gd name="connsiteY1" fmla="*/ 58863 h 65400"/>
                <a:gd name="connsiteX2" fmla="*/ 0 w 13074"/>
                <a:gd name="connsiteY2" fmla="*/ 6537 h 65400"/>
                <a:gd name="connsiteX3" fmla="*/ 6537 w 13074"/>
                <a:gd name="connsiteY3" fmla="*/ 0 h 65400"/>
                <a:gd name="connsiteX4" fmla="*/ 13074 w 13074"/>
                <a:gd name="connsiteY4" fmla="*/ 6537 h 65400"/>
                <a:gd name="connsiteX5" fmla="*/ 13074 w 13074"/>
                <a:gd name="connsiteY5" fmla="*/ 58863 h 65400"/>
                <a:gd name="connsiteX6" fmla="*/ 6537 w 13074"/>
                <a:gd name="connsiteY6" fmla="*/ 65401 h 6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74" h="65400">
                  <a:moveTo>
                    <a:pt x="6537" y="65401"/>
                  </a:moveTo>
                  <a:cubicBezTo>
                    <a:pt x="2930" y="65401"/>
                    <a:pt x="0" y="62470"/>
                    <a:pt x="0" y="58863"/>
                  </a:cubicBezTo>
                  <a:lnTo>
                    <a:pt x="0" y="6537"/>
                  </a:lnTo>
                  <a:cubicBezTo>
                    <a:pt x="0" y="2931"/>
                    <a:pt x="2930" y="0"/>
                    <a:pt x="6537" y="0"/>
                  </a:cubicBezTo>
                  <a:cubicBezTo>
                    <a:pt x="10144" y="0"/>
                    <a:pt x="13074" y="2931"/>
                    <a:pt x="13074" y="6537"/>
                  </a:cubicBezTo>
                  <a:lnTo>
                    <a:pt x="13074" y="58863"/>
                  </a:lnTo>
                  <a:cubicBezTo>
                    <a:pt x="13074" y="62470"/>
                    <a:pt x="10144" y="65401"/>
                    <a:pt x="6537" y="65401"/>
                  </a:cubicBezTo>
                  <a:close/>
                </a:path>
              </a:pathLst>
            </a:custGeom>
            <a:solidFill>
              <a:schemeClr val="bg2"/>
            </a:solidFill>
            <a:ln w="2810"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65" name="Freihandform: Form 90">
              <a:extLst>
                <a:ext uri="{FF2B5EF4-FFF2-40B4-BE49-F238E27FC236}">
                  <a16:creationId xmlns:a16="http://schemas.microsoft.com/office/drawing/2014/main" id="{05739A33-8CDC-AE7A-5236-8C3169867748}"/>
                </a:ext>
              </a:extLst>
            </p:cNvPr>
            <p:cNvSpPr/>
            <p:nvPr/>
          </p:nvSpPr>
          <p:spPr>
            <a:xfrm>
              <a:off x="6402829" y="2086602"/>
              <a:ext cx="133628" cy="14836"/>
            </a:xfrm>
            <a:custGeom>
              <a:avLst/>
              <a:gdLst>
                <a:gd name="connsiteX0" fmla="*/ 111218 w 117754"/>
                <a:gd name="connsiteY0" fmla="*/ 13074 h 13074"/>
                <a:gd name="connsiteX1" fmla="*/ 6537 w 117754"/>
                <a:gd name="connsiteY1" fmla="*/ 13074 h 13074"/>
                <a:gd name="connsiteX2" fmla="*/ 0 w 117754"/>
                <a:gd name="connsiteY2" fmla="*/ 6537 h 13074"/>
                <a:gd name="connsiteX3" fmla="*/ 6537 w 117754"/>
                <a:gd name="connsiteY3" fmla="*/ 0 h 13074"/>
                <a:gd name="connsiteX4" fmla="*/ 111218 w 117754"/>
                <a:gd name="connsiteY4" fmla="*/ 0 h 13074"/>
                <a:gd name="connsiteX5" fmla="*/ 117755 w 117754"/>
                <a:gd name="connsiteY5" fmla="*/ 6537 h 13074"/>
                <a:gd name="connsiteX6" fmla="*/ 111218 w 117754"/>
                <a:gd name="connsiteY6" fmla="*/ 13074 h 13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754" h="13074">
                  <a:moveTo>
                    <a:pt x="111218" y="13074"/>
                  </a:moveTo>
                  <a:lnTo>
                    <a:pt x="6537" y="13074"/>
                  </a:lnTo>
                  <a:cubicBezTo>
                    <a:pt x="2930" y="13074"/>
                    <a:pt x="0" y="10144"/>
                    <a:pt x="0" y="6537"/>
                  </a:cubicBezTo>
                  <a:cubicBezTo>
                    <a:pt x="0" y="2931"/>
                    <a:pt x="2930" y="0"/>
                    <a:pt x="6537" y="0"/>
                  </a:cubicBezTo>
                  <a:lnTo>
                    <a:pt x="111218" y="0"/>
                  </a:lnTo>
                  <a:cubicBezTo>
                    <a:pt x="114825" y="0"/>
                    <a:pt x="117755" y="2931"/>
                    <a:pt x="117755" y="6537"/>
                  </a:cubicBezTo>
                  <a:cubicBezTo>
                    <a:pt x="117755" y="10144"/>
                    <a:pt x="114825" y="13074"/>
                    <a:pt x="111218" y="13074"/>
                  </a:cubicBezTo>
                  <a:close/>
                </a:path>
              </a:pathLst>
            </a:custGeom>
            <a:solidFill>
              <a:schemeClr val="bg2"/>
            </a:solidFill>
            <a:ln w="2810"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66" name="Freihandform: Form 91">
              <a:extLst>
                <a:ext uri="{FF2B5EF4-FFF2-40B4-BE49-F238E27FC236}">
                  <a16:creationId xmlns:a16="http://schemas.microsoft.com/office/drawing/2014/main" id="{76BDE827-DC3F-B59E-4DB1-74F227E19678}"/>
                </a:ext>
              </a:extLst>
            </p:cNvPr>
            <p:cNvSpPr/>
            <p:nvPr/>
          </p:nvSpPr>
          <p:spPr>
            <a:xfrm>
              <a:off x="6395410" y="1878692"/>
              <a:ext cx="51960" cy="44542"/>
            </a:xfrm>
            <a:custGeom>
              <a:avLst/>
              <a:gdLst>
                <a:gd name="connsiteX0" fmla="*/ 39252 w 45788"/>
                <a:gd name="connsiteY0" fmla="*/ 39252 h 39251"/>
                <a:gd name="connsiteX1" fmla="*/ 32714 w 45788"/>
                <a:gd name="connsiteY1" fmla="*/ 32714 h 39251"/>
                <a:gd name="connsiteX2" fmla="*/ 32714 w 45788"/>
                <a:gd name="connsiteY2" fmla="*/ 13074 h 39251"/>
                <a:gd name="connsiteX3" fmla="*/ 13074 w 45788"/>
                <a:gd name="connsiteY3" fmla="*/ 13074 h 39251"/>
                <a:gd name="connsiteX4" fmla="*/ 13074 w 45788"/>
                <a:gd name="connsiteY4" fmla="*/ 32714 h 39251"/>
                <a:gd name="connsiteX5" fmla="*/ 6537 w 45788"/>
                <a:gd name="connsiteY5" fmla="*/ 39252 h 39251"/>
                <a:gd name="connsiteX6" fmla="*/ 0 w 45788"/>
                <a:gd name="connsiteY6" fmla="*/ 32714 h 39251"/>
                <a:gd name="connsiteX7" fmla="*/ 0 w 45788"/>
                <a:gd name="connsiteY7" fmla="*/ 6537 h 39251"/>
                <a:gd name="connsiteX8" fmla="*/ 6537 w 45788"/>
                <a:gd name="connsiteY8" fmla="*/ 0 h 39251"/>
                <a:gd name="connsiteX9" fmla="*/ 39252 w 45788"/>
                <a:gd name="connsiteY9" fmla="*/ 0 h 39251"/>
                <a:gd name="connsiteX10" fmla="*/ 45789 w 45788"/>
                <a:gd name="connsiteY10" fmla="*/ 6537 h 39251"/>
                <a:gd name="connsiteX11" fmla="*/ 45789 w 45788"/>
                <a:gd name="connsiteY11" fmla="*/ 32714 h 39251"/>
                <a:gd name="connsiteX12" fmla="*/ 39252 w 45788"/>
                <a:gd name="connsiteY12" fmla="*/ 39252 h 39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88" h="39251">
                  <a:moveTo>
                    <a:pt x="39252" y="39252"/>
                  </a:moveTo>
                  <a:cubicBezTo>
                    <a:pt x="35645" y="39252"/>
                    <a:pt x="32714" y="36321"/>
                    <a:pt x="32714" y="32714"/>
                  </a:cubicBezTo>
                  <a:lnTo>
                    <a:pt x="32714" y="13074"/>
                  </a:lnTo>
                  <a:lnTo>
                    <a:pt x="13074" y="13074"/>
                  </a:lnTo>
                  <a:lnTo>
                    <a:pt x="13074" y="32714"/>
                  </a:lnTo>
                  <a:cubicBezTo>
                    <a:pt x="13074" y="36321"/>
                    <a:pt x="10144" y="39252"/>
                    <a:pt x="6537" y="39252"/>
                  </a:cubicBezTo>
                  <a:cubicBezTo>
                    <a:pt x="2930" y="39252"/>
                    <a:pt x="0" y="36321"/>
                    <a:pt x="0" y="32714"/>
                  </a:cubicBezTo>
                  <a:lnTo>
                    <a:pt x="0" y="6537"/>
                  </a:lnTo>
                  <a:cubicBezTo>
                    <a:pt x="0" y="2930"/>
                    <a:pt x="2930" y="0"/>
                    <a:pt x="6537" y="0"/>
                  </a:cubicBezTo>
                  <a:lnTo>
                    <a:pt x="39252" y="0"/>
                  </a:lnTo>
                  <a:cubicBezTo>
                    <a:pt x="42858" y="0"/>
                    <a:pt x="45789" y="2930"/>
                    <a:pt x="45789" y="6537"/>
                  </a:cubicBezTo>
                  <a:lnTo>
                    <a:pt x="45789" y="32714"/>
                  </a:lnTo>
                  <a:cubicBezTo>
                    <a:pt x="45789" y="36321"/>
                    <a:pt x="42858" y="39252"/>
                    <a:pt x="39252" y="39252"/>
                  </a:cubicBezTo>
                  <a:close/>
                </a:path>
              </a:pathLst>
            </a:custGeom>
            <a:solidFill>
              <a:schemeClr val="tx2"/>
            </a:solidFill>
            <a:ln w="2810"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67" name="Freihandform: Form 92">
              <a:extLst>
                <a:ext uri="{FF2B5EF4-FFF2-40B4-BE49-F238E27FC236}">
                  <a16:creationId xmlns:a16="http://schemas.microsoft.com/office/drawing/2014/main" id="{E3D7B2DF-06E6-447E-2FDF-F53E75FEF193}"/>
                </a:ext>
              </a:extLst>
            </p:cNvPr>
            <p:cNvSpPr/>
            <p:nvPr/>
          </p:nvSpPr>
          <p:spPr>
            <a:xfrm>
              <a:off x="6491915" y="1878692"/>
              <a:ext cx="51960" cy="44542"/>
            </a:xfrm>
            <a:custGeom>
              <a:avLst/>
              <a:gdLst>
                <a:gd name="connsiteX0" fmla="*/ 39252 w 45788"/>
                <a:gd name="connsiteY0" fmla="*/ 39252 h 39251"/>
                <a:gd name="connsiteX1" fmla="*/ 32714 w 45788"/>
                <a:gd name="connsiteY1" fmla="*/ 32714 h 39251"/>
                <a:gd name="connsiteX2" fmla="*/ 32714 w 45788"/>
                <a:gd name="connsiteY2" fmla="*/ 13074 h 39251"/>
                <a:gd name="connsiteX3" fmla="*/ 13074 w 45788"/>
                <a:gd name="connsiteY3" fmla="*/ 13074 h 39251"/>
                <a:gd name="connsiteX4" fmla="*/ 13074 w 45788"/>
                <a:gd name="connsiteY4" fmla="*/ 32714 h 39251"/>
                <a:gd name="connsiteX5" fmla="*/ 6537 w 45788"/>
                <a:gd name="connsiteY5" fmla="*/ 39252 h 39251"/>
                <a:gd name="connsiteX6" fmla="*/ 0 w 45788"/>
                <a:gd name="connsiteY6" fmla="*/ 32714 h 39251"/>
                <a:gd name="connsiteX7" fmla="*/ 0 w 45788"/>
                <a:gd name="connsiteY7" fmla="*/ 6537 h 39251"/>
                <a:gd name="connsiteX8" fmla="*/ 6537 w 45788"/>
                <a:gd name="connsiteY8" fmla="*/ 0 h 39251"/>
                <a:gd name="connsiteX9" fmla="*/ 39252 w 45788"/>
                <a:gd name="connsiteY9" fmla="*/ 0 h 39251"/>
                <a:gd name="connsiteX10" fmla="*/ 45789 w 45788"/>
                <a:gd name="connsiteY10" fmla="*/ 6537 h 39251"/>
                <a:gd name="connsiteX11" fmla="*/ 45789 w 45788"/>
                <a:gd name="connsiteY11" fmla="*/ 32714 h 39251"/>
                <a:gd name="connsiteX12" fmla="*/ 39252 w 45788"/>
                <a:gd name="connsiteY12" fmla="*/ 39252 h 39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88" h="39251">
                  <a:moveTo>
                    <a:pt x="39252" y="39252"/>
                  </a:moveTo>
                  <a:cubicBezTo>
                    <a:pt x="35645" y="39252"/>
                    <a:pt x="32714" y="36321"/>
                    <a:pt x="32714" y="32714"/>
                  </a:cubicBezTo>
                  <a:lnTo>
                    <a:pt x="32714" y="13074"/>
                  </a:lnTo>
                  <a:lnTo>
                    <a:pt x="13074" y="13074"/>
                  </a:lnTo>
                  <a:lnTo>
                    <a:pt x="13074" y="32714"/>
                  </a:lnTo>
                  <a:cubicBezTo>
                    <a:pt x="13074" y="36321"/>
                    <a:pt x="10144" y="39252"/>
                    <a:pt x="6537" y="39252"/>
                  </a:cubicBezTo>
                  <a:cubicBezTo>
                    <a:pt x="2930" y="39252"/>
                    <a:pt x="0" y="36321"/>
                    <a:pt x="0" y="32714"/>
                  </a:cubicBezTo>
                  <a:lnTo>
                    <a:pt x="0" y="6537"/>
                  </a:lnTo>
                  <a:cubicBezTo>
                    <a:pt x="0" y="2930"/>
                    <a:pt x="2930" y="0"/>
                    <a:pt x="6537" y="0"/>
                  </a:cubicBezTo>
                  <a:lnTo>
                    <a:pt x="39252" y="0"/>
                  </a:lnTo>
                  <a:cubicBezTo>
                    <a:pt x="42858" y="0"/>
                    <a:pt x="45789" y="2930"/>
                    <a:pt x="45789" y="6537"/>
                  </a:cubicBezTo>
                  <a:lnTo>
                    <a:pt x="45789" y="32714"/>
                  </a:lnTo>
                  <a:cubicBezTo>
                    <a:pt x="45789" y="36321"/>
                    <a:pt x="42858" y="39252"/>
                    <a:pt x="39252" y="39252"/>
                  </a:cubicBezTo>
                  <a:close/>
                </a:path>
              </a:pathLst>
            </a:custGeom>
            <a:solidFill>
              <a:schemeClr val="tx2"/>
            </a:solidFill>
            <a:ln w="2810"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grpSp>
          <p:nvGrpSpPr>
            <p:cNvPr id="68" name="Grafik 241">
              <a:extLst>
                <a:ext uri="{FF2B5EF4-FFF2-40B4-BE49-F238E27FC236}">
                  <a16:creationId xmlns:a16="http://schemas.microsoft.com/office/drawing/2014/main" id="{60E5578F-6903-D153-EDB3-594A3D9FB75E}"/>
                </a:ext>
              </a:extLst>
            </p:cNvPr>
            <p:cNvGrpSpPr/>
            <p:nvPr/>
          </p:nvGrpSpPr>
          <p:grpSpPr>
            <a:xfrm>
              <a:off x="6610706" y="1975215"/>
              <a:ext cx="51960" cy="133627"/>
              <a:chOff x="6610706" y="1975229"/>
              <a:chExt cx="45788" cy="117754"/>
            </a:xfrm>
            <a:solidFill>
              <a:schemeClr val="tx2"/>
            </a:solidFill>
          </p:grpSpPr>
          <p:sp>
            <p:nvSpPr>
              <p:cNvPr id="80" name="Freihandform: Form 100">
                <a:extLst>
                  <a:ext uri="{FF2B5EF4-FFF2-40B4-BE49-F238E27FC236}">
                    <a16:creationId xmlns:a16="http://schemas.microsoft.com/office/drawing/2014/main" id="{6E127EC9-2BCF-1493-7473-3ABA5F72951C}"/>
                  </a:ext>
                </a:extLst>
              </p:cNvPr>
              <p:cNvSpPr/>
              <p:nvPr/>
            </p:nvSpPr>
            <p:spPr>
              <a:xfrm>
                <a:off x="6610706" y="1975229"/>
                <a:ext cx="45788" cy="39251"/>
              </a:xfrm>
              <a:custGeom>
                <a:avLst/>
                <a:gdLst>
                  <a:gd name="connsiteX0" fmla="*/ 39252 w 45788"/>
                  <a:gd name="connsiteY0" fmla="*/ 39252 h 39251"/>
                  <a:gd name="connsiteX1" fmla="*/ 32714 w 45788"/>
                  <a:gd name="connsiteY1" fmla="*/ 32714 h 39251"/>
                  <a:gd name="connsiteX2" fmla="*/ 32714 w 45788"/>
                  <a:gd name="connsiteY2" fmla="*/ 13074 h 39251"/>
                  <a:gd name="connsiteX3" fmla="*/ 13074 w 45788"/>
                  <a:gd name="connsiteY3" fmla="*/ 13074 h 39251"/>
                  <a:gd name="connsiteX4" fmla="*/ 13074 w 45788"/>
                  <a:gd name="connsiteY4" fmla="*/ 32714 h 39251"/>
                  <a:gd name="connsiteX5" fmla="*/ 6537 w 45788"/>
                  <a:gd name="connsiteY5" fmla="*/ 39252 h 39251"/>
                  <a:gd name="connsiteX6" fmla="*/ 0 w 45788"/>
                  <a:gd name="connsiteY6" fmla="*/ 32714 h 39251"/>
                  <a:gd name="connsiteX7" fmla="*/ 0 w 45788"/>
                  <a:gd name="connsiteY7" fmla="*/ 6537 h 39251"/>
                  <a:gd name="connsiteX8" fmla="*/ 6537 w 45788"/>
                  <a:gd name="connsiteY8" fmla="*/ 0 h 39251"/>
                  <a:gd name="connsiteX9" fmla="*/ 39252 w 45788"/>
                  <a:gd name="connsiteY9" fmla="*/ 0 h 39251"/>
                  <a:gd name="connsiteX10" fmla="*/ 45789 w 45788"/>
                  <a:gd name="connsiteY10" fmla="*/ 6537 h 39251"/>
                  <a:gd name="connsiteX11" fmla="*/ 45789 w 45788"/>
                  <a:gd name="connsiteY11" fmla="*/ 32714 h 39251"/>
                  <a:gd name="connsiteX12" fmla="*/ 39252 w 45788"/>
                  <a:gd name="connsiteY12" fmla="*/ 39252 h 39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88" h="39251">
                    <a:moveTo>
                      <a:pt x="39252" y="39252"/>
                    </a:moveTo>
                    <a:cubicBezTo>
                      <a:pt x="35645" y="39252"/>
                      <a:pt x="32714" y="36321"/>
                      <a:pt x="32714" y="32714"/>
                    </a:cubicBezTo>
                    <a:lnTo>
                      <a:pt x="32714" y="13074"/>
                    </a:lnTo>
                    <a:lnTo>
                      <a:pt x="13074" y="13074"/>
                    </a:lnTo>
                    <a:lnTo>
                      <a:pt x="13074" y="32714"/>
                    </a:lnTo>
                    <a:cubicBezTo>
                      <a:pt x="13074" y="36321"/>
                      <a:pt x="10144" y="39252"/>
                      <a:pt x="6537" y="39252"/>
                    </a:cubicBezTo>
                    <a:cubicBezTo>
                      <a:pt x="2931" y="39252"/>
                      <a:pt x="0" y="36321"/>
                      <a:pt x="0" y="32714"/>
                    </a:cubicBezTo>
                    <a:lnTo>
                      <a:pt x="0" y="6537"/>
                    </a:lnTo>
                    <a:cubicBezTo>
                      <a:pt x="0" y="2930"/>
                      <a:pt x="2931" y="0"/>
                      <a:pt x="6537" y="0"/>
                    </a:cubicBezTo>
                    <a:lnTo>
                      <a:pt x="39252" y="0"/>
                    </a:lnTo>
                    <a:cubicBezTo>
                      <a:pt x="42858" y="0"/>
                      <a:pt x="45789" y="2930"/>
                      <a:pt x="45789" y="6537"/>
                    </a:cubicBezTo>
                    <a:lnTo>
                      <a:pt x="45789" y="32714"/>
                    </a:lnTo>
                    <a:cubicBezTo>
                      <a:pt x="45789" y="36321"/>
                      <a:pt x="42858" y="39252"/>
                      <a:pt x="39252" y="39252"/>
                    </a:cubicBezTo>
                    <a:close/>
                  </a:path>
                </a:pathLst>
              </a:custGeom>
              <a:grpFill/>
              <a:ln w="2810"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81" name="Freihandform: Form 101">
                <a:extLst>
                  <a:ext uri="{FF2B5EF4-FFF2-40B4-BE49-F238E27FC236}">
                    <a16:creationId xmlns:a16="http://schemas.microsoft.com/office/drawing/2014/main" id="{8C9E262A-5E44-F4ED-616E-8AF848BE15B9}"/>
                  </a:ext>
                </a:extLst>
              </p:cNvPr>
              <p:cNvSpPr/>
              <p:nvPr/>
            </p:nvSpPr>
            <p:spPr>
              <a:xfrm>
                <a:off x="6610706" y="2053732"/>
                <a:ext cx="45788" cy="39251"/>
              </a:xfrm>
              <a:custGeom>
                <a:avLst/>
                <a:gdLst>
                  <a:gd name="connsiteX0" fmla="*/ 39252 w 45788"/>
                  <a:gd name="connsiteY0" fmla="*/ 39252 h 39251"/>
                  <a:gd name="connsiteX1" fmla="*/ 32714 w 45788"/>
                  <a:gd name="connsiteY1" fmla="*/ 32714 h 39251"/>
                  <a:gd name="connsiteX2" fmla="*/ 32714 w 45788"/>
                  <a:gd name="connsiteY2" fmla="*/ 13074 h 39251"/>
                  <a:gd name="connsiteX3" fmla="*/ 13074 w 45788"/>
                  <a:gd name="connsiteY3" fmla="*/ 13074 h 39251"/>
                  <a:gd name="connsiteX4" fmla="*/ 13074 w 45788"/>
                  <a:gd name="connsiteY4" fmla="*/ 32714 h 39251"/>
                  <a:gd name="connsiteX5" fmla="*/ 6537 w 45788"/>
                  <a:gd name="connsiteY5" fmla="*/ 39252 h 39251"/>
                  <a:gd name="connsiteX6" fmla="*/ 0 w 45788"/>
                  <a:gd name="connsiteY6" fmla="*/ 32714 h 39251"/>
                  <a:gd name="connsiteX7" fmla="*/ 0 w 45788"/>
                  <a:gd name="connsiteY7" fmla="*/ 6537 h 39251"/>
                  <a:gd name="connsiteX8" fmla="*/ 6537 w 45788"/>
                  <a:gd name="connsiteY8" fmla="*/ 0 h 39251"/>
                  <a:gd name="connsiteX9" fmla="*/ 39252 w 45788"/>
                  <a:gd name="connsiteY9" fmla="*/ 0 h 39251"/>
                  <a:gd name="connsiteX10" fmla="*/ 45789 w 45788"/>
                  <a:gd name="connsiteY10" fmla="*/ 6537 h 39251"/>
                  <a:gd name="connsiteX11" fmla="*/ 45789 w 45788"/>
                  <a:gd name="connsiteY11" fmla="*/ 32714 h 39251"/>
                  <a:gd name="connsiteX12" fmla="*/ 39252 w 45788"/>
                  <a:gd name="connsiteY12" fmla="*/ 39252 h 39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88" h="39251">
                    <a:moveTo>
                      <a:pt x="39252" y="39252"/>
                    </a:moveTo>
                    <a:cubicBezTo>
                      <a:pt x="35645" y="39252"/>
                      <a:pt x="32714" y="36321"/>
                      <a:pt x="32714" y="32714"/>
                    </a:cubicBezTo>
                    <a:lnTo>
                      <a:pt x="32714" y="13074"/>
                    </a:lnTo>
                    <a:lnTo>
                      <a:pt x="13074" y="13074"/>
                    </a:lnTo>
                    <a:lnTo>
                      <a:pt x="13074" y="32714"/>
                    </a:lnTo>
                    <a:cubicBezTo>
                      <a:pt x="13074" y="36321"/>
                      <a:pt x="10144" y="39252"/>
                      <a:pt x="6537" y="39252"/>
                    </a:cubicBezTo>
                    <a:cubicBezTo>
                      <a:pt x="2931" y="39252"/>
                      <a:pt x="0" y="36321"/>
                      <a:pt x="0" y="32714"/>
                    </a:cubicBezTo>
                    <a:lnTo>
                      <a:pt x="0" y="6537"/>
                    </a:lnTo>
                    <a:cubicBezTo>
                      <a:pt x="0" y="2931"/>
                      <a:pt x="2931" y="0"/>
                      <a:pt x="6537" y="0"/>
                    </a:cubicBezTo>
                    <a:lnTo>
                      <a:pt x="39252" y="0"/>
                    </a:lnTo>
                    <a:cubicBezTo>
                      <a:pt x="42858" y="0"/>
                      <a:pt x="45789" y="2931"/>
                      <a:pt x="45789" y="6537"/>
                    </a:cubicBezTo>
                    <a:lnTo>
                      <a:pt x="45789" y="32714"/>
                    </a:lnTo>
                    <a:cubicBezTo>
                      <a:pt x="45789" y="36321"/>
                      <a:pt x="42858" y="39252"/>
                      <a:pt x="39252" y="39252"/>
                    </a:cubicBezTo>
                    <a:close/>
                  </a:path>
                </a:pathLst>
              </a:custGeom>
              <a:grpFill/>
              <a:ln w="2810"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grpSp>
        <p:grpSp>
          <p:nvGrpSpPr>
            <p:cNvPr id="69" name="Grafik 241">
              <a:extLst>
                <a:ext uri="{FF2B5EF4-FFF2-40B4-BE49-F238E27FC236}">
                  <a16:creationId xmlns:a16="http://schemas.microsoft.com/office/drawing/2014/main" id="{6CD2F7DF-E68F-FA24-4AE1-C40ACE97B26F}"/>
                </a:ext>
              </a:extLst>
            </p:cNvPr>
            <p:cNvGrpSpPr/>
            <p:nvPr/>
          </p:nvGrpSpPr>
          <p:grpSpPr>
            <a:xfrm>
              <a:off x="6276619" y="1975215"/>
              <a:ext cx="51960" cy="133627"/>
              <a:chOff x="6276619" y="1975229"/>
              <a:chExt cx="45788" cy="117754"/>
            </a:xfrm>
            <a:solidFill>
              <a:schemeClr val="tx2"/>
            </a:solidFill>
          </p:grpSpPr>
          <p:sp>
            <p:nvSpPr>
              <p:cNvPr id="78" name="Freihandform: Form 98">
                <a:extLst>
                  <a:ext uri="{FF2B5EF4-FFF2-40B4-BE49-F238E27FC236}">
                    <a16:creationId xmlns:a16="http://schemas.microsoft.com/office/drawing/2014/main" id="{2A38C7FA-4092-F67E-DC40-A7EDB93CB5EB}"/>
                  </a:ext>
                </a:extLst>
              </p:cNvPr>
              <p:cNvSpPr/>
              <p:nvPr/>
            </p:nvSpPr>
            <p:spPr>
              <a:xfrm>
                <a:off x="6276619" y="1975229"/>
                <a:ext cx="45788" cy="39251"/>
              </a:xfrm>
              <a:custGeom>
                <a:avLst/>
                <a:gdLst>
                  <a:gd name="connsiteX0" fmla="*/ 39252 w 45788"/>
                  <a:gd name="connsiteY0" fmla="*/ 39252 h 39251"/>
                  <a:gd name="connsiteX1" fmla="*/ 32714 w 45788"/>
                  <a:gd name="connsiteY1" fmla="*/ 32714 h 39251"/>
                  <a:gd name="connsiteX2" fmla="*/ 32714 w 45788"/>
                  <a:gd name="connsiteY2" fmla="*/ 13074 h 39251"/>
                  <a:gd name="connsiteX3" fmla="*/ 13074 w 45788"/>
                  <a:gd name="connsiteY3" fmla="*/ 13074 h 39251"/>
                  <a:gd name="connsiteX4" fmla="*/ 13074 w 45788"/>
                  <a:gd name="connsiteY4" fmla="*/ 32714 h 39251"/>
                  <a:gd name="connsiteX5" fmla="*/ 6537 w 45788"/>
                  <a:gd name="connsiteY5" fmla="*/ 39252 h 39251"/>
                  <a:gd name="connsiteX6" fmla="*/ 0 w 45788"/>
                  <a:gd name="connsiteY6" fmla="*/ 32714 h 39251"/>
                  <a:gd name="connsiteX7" fmla="*/ 0 w 45788"/>
                  <a:gd name="connsiteY7" fmla="*/ 6537 h 39251"/>
                  <a:gd name="connsiteX8" fmla="*/ 6537 w 45788"/>
                  <a:gd name="connsiteY8" fmla="*/ 0 h 39251"/>
                  <a:gd name="connsiteX9" fmla="*/ 39252 w 45788"/>
                  <a:gd name="connsiteY9" fmla="*/ 0 h 39251"/>
                  <a:gd name="connsiteX10" fmla="*/ 45789 w 45788"/>
                  <a:gd name="connsiteY10" fmla="*/ 6537 h 39251"/>
                  <a:gd name="connsiteX11" fmla="*/ 45789 w 45788"/>
                  <a:gd name="connsiteY11" fmla="*/ 32714 h 39251"/>
                  <a:gd name="connsiteX12" fmla="*/ 39252 w 45788"/>
                  <a:gd name="connsiteY12" fmla="*/ 39252 h 39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88" h="39251">
                    <a:moveTo>
                      <a:pt x="39252" y="39252"/>
                    </a:moveTo>
                    <a:cubicBezTo>
                      <a:pt x="35645" y="39252"/>
                      <a:pt x="32714" y="36321"/>
                      <a:pt x="32714" y="32714"/>
                    </a:cubicBezTo>
                    <a:lnTo>
                      <a:pt x="32714" y="13074"/>
                    </a:lnTo>
                    <a:lnTo>
                      <a:pt x="13074" y="13074"/>
                    </a:lnTo>
                    <a:lnTo>
                      <a:pt x="13074" y="32714"/>
                    </a:lnTo>
                    <a:cubicBezTo>
                      <a:pt x="13074" y="36321"/>
                      <a:pt x="10144" y="39252"/>
                      <a:pt x="6537" y="39252"/>
                    </a:cubicBezTo>
                    <a:cubicBezTo>
                      <a:pt x="2930" y="39252"/>
                      <a:pt x="0" y="36321"/>
                      <a:pt x="0" y="32714"/>
                    </a:cubicBezTo>
                    <a:lnTo>
                      <a:pt x="0" y="6537"/>
                    </a:lnTo>
                    <a:cubicBezTo>
                      <a:pt x="0" y="2930"/>
                      <a:pt x="2930" y="0"/>
                      <a:pt x="6537" y="0"/>
                    </a:cubicBezTo>
                    <a:lnTo>
                      <a:pt x="39252" y="0"/>
                    </a:lnTo>
                    <a:cubicBezTo>
                      <a:pt x="42858" y="0"/>
                      <a:pt x="45789" y="2930"/>
                      <a:pt x="45789" y="6537"/>
                    </a:cubicBezTo>
                    <a:lnTo>
                      <a:pt x="45789" y="32714"/>
                    </a:lnTo>
                    <a:cubicBezTo>
                      <a:pt x="45789" y="36321"/>
                      <a:pt x="42858" y="39252"/>
                      <a:pt x="39252" y="39252"/>
                    </a:cubicBezTo>
                    <a:close/>
                  </a:path>
                </a:pathLst>
              </a:custGeom>
              <a:grpFill/>
              <a:ln w="2810"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79" name="Freihandform: Form 99">
                <a:extLst>
                  <a:ext uri="{FF2B5EF4-FFF2-40B4-BE49-F238E27FC236}">
                    <a16:creationId xmlns:a16="http://schemas.microsoft.com/office/drawing/2014/main" id="{D2233D62-ED5A-9B97-831E-C38EAE1E53C5}"/>
                  </a:ext>
                </a:extLst>
              </p:cNvPr>
              <p:cNvSpPr/>
              <p:nvPr/>
            </p:nvSpPr>
            <p:spPr>
              <a:xfrm>
                <a:off x="6276619" y="2053732"/>
                <a:ext cx="45788" cy="39251"/>
              </a:xfrm>
              <a:custGeom>
                <a:avLst/>
                <a:gdLst>
                  <a:gd name="connsiteX0" fmla="*/ 39252 w 45788"/>
                  <a:gd name="connsiteY0" fmla="*/ 39252 h 39251"/>
                  <a:gd name="connsiteX1" fmla="*/ 32714 w 45788"/>
                  <a:gd name="connsiteY1" fmla="*/ 32714 h 39251"/>
                  <a:gd name="connsiteX2" fmla="*/ 32714 w 45788"/>
                  <a:gd name="connsiteY2" fmla="*/ 13074 h 39251"/>
                  <a:gd name="connsiteX3" fmla="*/ 13074 w 45788"/>
                  <a:gd name="connsiteY3" fmla="*/ 13074 h 39251"/>
                  <a:gd name="connsiteX4" fmla="*/ 13074 w 45788"/>
                  <a:gd name="connsiteY4" fmla="*/ 32714 h 39251"/>
                  <a:gd name="connsiteX5" fmla="*/ 6537 w 45788"/>
                  <a:gd name="connsiteY5" fmla="*/ 39252 h 39251"/>
                  <a:gd name="connsiteX6" fmla="*/ 0 w 45788"/>
                  <a:gd name="connsiteY6" fmla="*/ 32714 h 39251"/>
                  <a:gd name="connsiteX7" fmla="*/ 0 w 45788"/>
                  <a:gd name="connsiteY7" fmla="*/ 6537 h 39251"/>
                  <a:gd name="connsiteX8" fmla="*/ 6537 w 45788"/>
                  <a:gd name="connsiteY8" fmla="*/ 0 h 39251"/>
                  <a:gd name="connsiteX9" fmla="*/ 39252 w 45788"/>
                  <a:gd name="connsiteY9" fmla="*/ 0 h 39251"/>
                  <a:gd name="connsiteX10" fmla="*/ 45789 w 45788"/>
                  <a:gd name="connsiteY10" fmla="*/ 6537 h 39251"/>
                  <a:gd name="connsiteX11" fmla="*/ 45789 w 45788"/>
                  <a:gd name="connsiteY11" fmla="*/ 32714 h 39251"/>
                  <a:gd name="connsiteX12" fmla="*/ 39252 w 45788"/>
                  <a:gd name="connsiteY12" fmla="*/ 39252 h 39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88" h="39251">
                    <a:moveTo>
                      <a:pt x="39252" y="39252"/>
                    </a:moveTo>
                    <a:cubicBezTo>
                      <a:pt x="35645" y="39252"/>
                      <a:pt x="32714" y="36321"/>
                      <a:pt x="32714" y="32714"/>
                    </a:cubicBezTo>
                    <a:lnTo>
                      <a:pt x="32714" y="13074"/>
                    </a:lnTo>
                    <a:lnTo>
                      <a:pt x="13074" y="13074"/>
                    </a:lnTo>
                    <a:lnTo>
                      <a:pt x="13074" y="32714"/>
                    </a:lnTo>
                    <a:cubicBezTo>
                      <a:pt x="13074" y="36321"/>
                      <a:pt x="10144" y="39252"/>
                      <a:pt x="6537" y="39252"/>
                    </a:cubicBezTo>
                    <a:cubicBezTo>
                      <a:pt x="2930" y="39252"/>
                      <a:pt x="0" y="36321"/>
                      <a:pt x="0" y="32714"/>
                    </a:cubicBezTo>
                    <a:lnTo>
                      <a:pt x="0" y="6537"/>
                    </a:lnTo>
                    <a:cubicBezTo>
                      <a:pt x="0" y="2931"/>
                      <a:pt x="2930" y="0"/>
                      <a:pt x="6537" y="0"/>
                    </a:cubicBezTo>
                    <a:lnTo>
                      <a:pt x="39252" y="0"/>
                    </a:lnTo>
                    <a:cubicBezTo>
                      <a:pt x="42858" y="0"/>
                      <a:pt x="45789" y="2931"/>
                      <a:pt x="45789" y="6537"/>
                    </a:cubicBezTo>
                    <a:lnTo>
                      <a:pt x="45789" y="32714"/>
                    </a:lnTo>
                    <a:cubicBezTo>
                      <a:pt x="45789" y="36321"/>
                      <a:pt x="42858" y="39252"/>
                      <a:pt x="39252" y="39252"/>
                    </a:cubicBezTo>
                    <a:close/>
                  </a:path>
                </a:pathLst>
              </a:custGeom>
              <a:grpFill/>
              <a:ln w="2810"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grpSp>
        <p:sp>
          <p:nvSpPr>
            <p:cNvPr id="70" name="Freihandform: Form 95">
              <a:extLst>
                <a:ext uri="{FF2B5EF4-FFF2-40B4-BE49-F238E27FC236}">
                  <a16:creationId xmlns:a16="http://schemas.microsoft.com/office/drawing/2014/main" id="{64FAC715-2A36-3152-9375-D10CBD91075F}"/>
                </a:ext>
              </a:extLst>
            </p:cNvPr>
            <p:cNvSpPr/>
            <p:nvPr/>
          </p:nvSpPr>
          <p:spPr>
            <a:xfrm>
              <a:off x="6395410" y="1975229"/>
              <a:ext cx="51960" cy="44542"/>
            </a:xfrm>
            <a:custGeom>
              <a:avLst/>
              <a:gdLst>
                <a:gd name="connsiteX0" fmla="*/ 39252 w 45788"/>
                <a:gd name="connsiteY0" fmla="*/ 39252 h 39251"/>
                <a:gd name="connsiteX1" fmla="*/ 32714 w 45788"/>
                <a:gd name="connsiteY1" fmla="*/ 32714 h 39251"/>
                <a:gd name="connsiteX2" fmla="*/ 32714 w 45788"/>
                <a:gd name="connsiteY2" fmla="*/ 13074 h 39251"/>
                <a:gd name="connsiteX3" fmla="*/ 13074 w 45788"/>
                <a:gd name="connsiteY3" fmla="*/ 13074 h 39251"/>
                <a:gd name="connsiteX4" fmla="*/ 13074 w 45788"/>
                <a:gd name="connsiteY4" fmla="*/ 32714 h 39251"/>
                <a:gd name="connsiteX5" fmla="*/ 6537 w 45788"/>
                <a:gd name="connsiteY5" fmla="*/ 39252 h 39251"/>
                <a:gd name="connsiteX6" fmla="*/ 0 w 45788"/>
                <a:gd name="connsiteY6" fmla="*/ 32714 h 39251"/>
                <a:gd name="connsiteX7" fmla="*/ 0 w 45788"/>
                <a:gd name="connsiteY7" fmla="*/ 6537 h 39251"/>
                <a:gd name="connsiteX8" fmla="*/ 6537 w 45788"/>
                <a:gd name="connsiteY8" fmla="*/ 0 h 39251"/>
                <a:gd name="connsiteX9" fmla="*/ 39252 w 45788"/>
                <a:gd name="connsiteY9" fmla="*/ 0 h 39251"/>
                <a:gd name="connsiteX10" fmla="*/ 45789 w 45788"/>
                <a:gd name="connsiteY10" fmla="*/ 6537 h 39251"/>
                <a:gd name="connsiteX11" fmla="*/ 45789 w 45788"/>
                <a:gd name="connsiteY11" fmla="*/ 32714 h 39251"/>
                <a:gd name="connsiteX12" fmla="*/ 39252 w 45788"/>
                <a:gd name="connsiteY12" fmla="*/ 39252 h 39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88" h="39251">
                  <a:moveTo>
                    <a:pt x="39252" y="39252"/>
                  </a:moveTo>
                  <a:cubicBezTo>
                    <a:pt x="35645" y="39252"/>
                    <a:pt x="32714" y="36321"/>
                    <a:pt x="32714" y="32714"/>
                  </a:cubicBezTo>
                  <a:lnTo>
                    <a:pt x="32714" y="13074"/>
                  </a:lnTo>
                  <a:lnTo>
                    <a:pt x="13074" y="13074"/>
                  </a:lnTo>
                  <a:lnTo>
                    <a:pt x="13074" y="32714"/>
                  </a:lnTo>
                  <a:cubicBezTo>
                    <a:pt x="13074" y="36321"/>
                    <a:pt x="10144" y="39252"/>
                    <a:pt x="6537" y="39252"/>
                  </a:cubicBezTo>
                  <a:cubicBezTo>
                    <a:pt x="2930" y="39252"/>
                    <a:pt x="0" y="36321"/>
                    <a:pt x="0" y="32714"/>
                  </a:cubicBezTo>
                  <a:lnTo>
                    <a:pt x="0" y="6537"/>
                  </a:lnTo>
                  <a:cubicBezTo>
                    <a:pt x="0" y="2930"/>
                    <a:pt x="2930" y="0"/>
                    <a:pt x="6537" y="0"/>
                  </a:cubicBezTo>
                  <a:lnTo>
                    <a:pt x="39252" y="0"/>
                  </a:lnTo>
                  <a:cubicBezTo>
                    <a:pt x="42858" y="0"/>
                    <a:pt x="45789" y="2930"/>
                    <a:pt x="45789" y="6537"/>
                  </a:cubicBezTo>
                  <a:lnTo>
                    <a:pt x="45789" y="32714"/>
                  </a:lnTo>
                  <a:cubicBezTo>
                    <a:pt x="45789" y="36321"/>
                    <a:pt x="42858" y="39252"/>
                    <a:pt x="39252" y="39252"/>
                  </a:cubicBezTo>
                  <a:close/>
                </a:path>
              </a:pathLst>
            </a:custGeom>
            <a:solidFill>
              <a:schemeClr val="tx2"/>
            </a:solidFill>
            <a:ln w="2810"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71" name="Freihandform: Form 96">
              <a:extLst>
                <a:ext uri="{FF2B5EF4-FFF2-40B4-BE49-F238E27FC236}">
                  <a16:creationId xmlns:a16="http://schemas.microsoft.com/office/drawing/2014/main" id="{697E8A63-AAB3-4ACE-5BFB-9DC753D1EF05}"/>
                </a:ext>
              </a:extLst>
            </p:cNvPr>
            <p:cNvSpPr/>
            <p:nvPr/>
          </p:nvSpPr>
          <p:spPr>
            <a:xfrm>
              <a:off x="6491915" y="1975229"/>
              <a:ext cx="51960" cy="44542"/>
            </a:xfrm>
            <a:custGeom>
              <a:avLst/>
              <a:gdLst>
                <a:gd name="connsiteX0" fmla="*/ 39252 w 45788"/>
                <a:gd name="connsiteY0" fmla="*/ 39252 h 39251"/>
                <a:gd name="connsiteX1" fmla="*/ 32714 w 45788"/>
                <a:gd name="connsiteY1" fmla="*/ 32714 h 39251"/>
                <a:gd name="connsiteX2" fmla="*/ 32714 w 45788"/>
                <a:gd name="connsiteY2" fmla="*/ 13074 h 39251"/>
                <a:gd name="connsiteX3" fmla="*/ 13074 w 45788"/>
                <a:gd name="connsiteY3" fmla="*/ 13074 h 39251"/>
                <a:gd name="connsiteX4" fmla="*/ 13074 w 45788"/>
                <a:gd name="connsiteY4" fmla="*/ 32714 h 39251"/>
                <a:gd name="connsiteX5" fmla="*/ 6537 w 45788"/>
                <a:gd name="connsiteY5" fmla="*/ 39252 h 39251"/>
                <a:gd name="connsiteX6" fmla="*/ 0 w 45788"/>
                <a:gd name="connsiteY6" fmla="*/ 32714 h 39251"/>
                <a:gd name="connsiteX7" fmla="*/ 0 w 45788"/>
                <a:gd name="connsiteY7" fmla="*/ 6537 h 39251"/>
                <a:gd name="connsiteX8" fmla="*/ 6537 w 45788"/>
                <a:gd name="connsiteY8" fmla="*/ 0 h 39251"/>
                <a:gd name="connsiteX9" fmla="*/ 39252 w 45788"/>
                <a:gd name="connsiteY9" fmla="*/ 0 h 39251"/>
                <a:gd name="connsiteX10" fmla="*/ 45789 w 45788"/>
                <a:gd name="connsiteY10" fmla="*/ 6537 h 39251"/>
                <a:gd name="connsiteX11" fmla="*/ 45789 w 45788"/>
                <a:gd name="connsiteY11" fmla="*/ 32714 h 39251"/>
                <a:gd name="connsiteX12" fmla="*/ 39252 w 45788"/>
                <a:gd name="connsiteY12" fmla="*/ 39252 h 39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88" h="39251">
                  <a:moveTo>
                    <a:pt x="39252" y="39252"/>
                  </a:moveTo>
                  <a:cubicBezTo>
                    <a:pt x="35645" y="39252"/>
                    <a:pt x="32714" y="36321"/>
                    <a:pt x="32714" y="32714"/>
                  </a:cubicBezTo>
                  <a:lnTo>
                    <a:pt x="32714" y="13074"/>
                  </a:lnTo>
                  <a:lnTo>
                    <a:pt x="13074" y="13074"/>
                  </a:lnTo>
                  <a:lnTo>
                    <a:pt x="13074" y="32714"/>
                  </a:lnTo>
                  <a:cubicBezTo>
                    <a:pt x="13074" y="36321"/>
                    <a:pt x="10144" y="39252"/>
                    <a:pt x="6537" y="39252"/>
                  </a:cubicBezTo>
                  <a:cubicBezTo>
                    <a:pt x="2930" y="39252"/>
                    <a:pt x="0" y="36321"/>
                    <a:pt x="0" y="32714"/>
                  </a:cubicBezTo>
                  <a:lnTo>
                    <a:pt x="0" y="6537"/>
                  </a:lnTo>
                  <a:cubicBezTo>
                    <a:pt x="0" y="2930"/>
                    <a:pt x="2930" y="0"/>
                    <a:pt x="6537" y="0"/>
                  </a:cubicBezTo>
                  <a:lnTo>
                    <a:pt x="39252" y="0"/>
                  </a:lnTo>
                  <a:cubicBezTo>
                    <a:pt x="42858" y="0"/>
                    <a:pt x="45789" y="2930"/>
                    <a:pt x="45789" y="6537"/>
                  </a:cubicBezTo>
                  <a:lnTo>
                    <a:pt x="45789" y="32714"/>
                  </a:lnTo>
                  <a:cubicBezTo>
                    <a:pt x="45789" y="36321"/>
                    <a:pt x="42858" y="39252"/>
                    <a:pt x="39252" y="39252"/>
                  </a:cubicBezTo>
                  <a:close/>
                </a:path>
              </a:pathLst>
            </a:custGeom>
            <a:solidFill>
              <a:schemeClr val="tx2"/>
            </a:solidFill>
            <a:ln w="2810"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72" name="Freihandform: Form 97">
              <a:extLst>
                <a:ext uri="{FF2B5EF4-FFF2-40B4-BE49-F238E27FC236}">
                  <a16:creationId xmlns:a16="http://schemas.microsoft.com/office/drawing/2014/main" id="{8175A0AB-0228-E2E3-8229-3763D4E6430E}"/>
                </a:ext>
              </a:extLst>
            </p:cNvPr>
            <p:cNvSpPr/>
            <p:nvPr/>
          </p:nvSpPr>
          <p:spPr>
            <a:xfrm>
              <a:off x="6312038" y="1743881"/>
              <a:ext cx="313474" cy="105137"/>
            </a:xfrm>
            <a:custGeom>
              <a:avLst/>
              <a:gdLst>
                <a:gd name="connsiteX0" fmla="*/ 6546 w 276237"/>
                <a:gd name="connsiteY0" fmla="*/ 92649 h 92648"/>
                <a:gd name="connsiteX1" fmla="*/ 910 w 276237"/>
                <a:gd name="connsiteY1" fmla="*/ 89436 h 92648"/>
                <a:gd name="connsiteX2" fmla="*/ 3221 w 276237"/>
                <a:gd name="connsiteY2" fmla="*/ 80476 h 92648"/>
                <a:gd name="connsiteX3" fmla="*/ 139150 w 276237"/>
                <a:gd name="connsiteY3" fmla="*/ 0 h 92648"/>
                <a:gd name="connsiteX4" fmla="*/ 273023 w 276237"/>
                <a:gd name="connsiteY4" fmla="*/ 79039 h 92648"/>
                <a:gd name="connsiteX5" fmla="*/ 275334 w 276237"/>
                <a:gd name="connsiteY5" fmla="*/ 87999 h 92648"/>
                <a:gd name="connsiteX6" fmla="*/ 266373 w 276237"/>
                <a:gd name="connsiteY6" fmla="*/ 90310 h 92648"/>
                <a:gd name="connsiteX7" fmla="*/ 139179 w 276237"/>
                <a:gd name="connsiteY7" fmla="*/ 15188 h 92648"/>
                <a:gd name="connsiteX8" fmla="*/ 9871 w 276237"/>
                <a:gd name="connsiteY8" fmla="*/ 91719 h 92648"/>
                <a:gd name="connsiteX9" fmla="*/ 6546 w 276237"/>
                <a:gd name="connsiteY9" fmla="*/ 92649 h 9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237" h="92648">
                  <a:moveTo>
                    <a:pt x="6546" y="92649"/>
                  </a:moveTo>
                  <a:cubicBezTo>
                    <a:pt x="4320" y="92649"/>
                    <a:pt x="2122" y="91493"/>
                    <a:pt x="910" y="89436"/>
                  </a:cubicBezTo>
                  <a:cubicBezTo>
                    <a:pt x="-921" y="86337"/>
                    <a:pt x="93" y="82307"/>
                    <a:pt x="3221" y="80476"/>
                  </a:cubicBezTo>
                  <a:lnTo>
                    <a:pt x="139150" y="0"/>
                  </a:lnTo>
                  <a:lnTo>
                    <a:pt x="273023" y="79039"/>
                  </a:lnTo>
                  <a:cubicBezTo>
                    <a:pt x="276123" y="80870"/>
                    <a:pt x="277165" y="84900"/>
                    <a:pt x="275334" y="87999"/>
                  </a:cubicBezTo>
                  <a:cubicBezTo>
                    <a:pt x="273502" y="91099"/>
                    <a:pt x="269473" y="92141"/>
                    <a:pt x="266373" y="90310"/>
                  </a:cubicBezTo>
                  <a:lnTo>
                    <a:pt x="139179" y="15188"/>
                  </a:lnTo>
                  <a:lnTo>
                    <a:pt x="9871" y="91719"/>
                  </a:lnTo>
                  <a:cubicBezTo>
                    <a:pt x="8828" y="92339"/>
                    <a:pt x="7701" y="92649"/>
                    <a:pt x="6546" y="92649"/>
                  </a:cubicBezTo>
                  <a:close/>
                </a:path>
              </a:pathLst>
            </a:custGeom>
            <a:solidFill>
              <a:schemeClr val="tx2"/>
            </a:solidFill>
            <a:ln w="2810"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grpSp>
          <p:nvGrpSpPr>
            <p:cNvPr id="73" name="Gruppieren 107">
              <a:extLst>
                <a:ext uri="{FF2B5EF4-FFF2-40B4-BE49-F238E27FC236}">
                  <a16:creationId xmlns:a16="http://schemas.microsoft.com/office/drawing/2014/main" id="{46CB7663-8CA8-FAEA-1BF3-1D8CD59B0446}"/>
                </a:ext>
              </a:extLst>
            </p:cNvPr>
            <p:cNvGrpSpPr/>
            <p:nvPr/>
          </p:nvGrpSpPr>
          <p:grpSpPr>
            <a:xfrm>
              <a:off x="6101742" y="1491470"/>
              <a:ext cx="731589" cy="312766"/>
              <a:chOff x="6101731" y="1491470"/>
              <a:chExt cx="554696" cy="237143"/>
            </a:xfrm>
            <a:solidFill>
              <a:schemeClr val="bg2"/>
            </a:solidFill>
          </p:grpSpPr>
          <p:sp>
            <p:nvSpPr>
              <p:cNvPr id="75" name="Freihandform: Form 62">
                <a:extLst>
                  <a:ext uri="{FF2B5EF4-FFF2-40B4-BE49-F238E27FC236}">
                    <a16:creationId xmlns:a16="http://schemas.microsoft.com/office/drawing/2014/main" id="{65C87852-0B8E-A88F-5551-4F9D7269F866}"/>
                  </a:ext>
                </a:extLst>
              </p:cNvPr>
              <p:cNvSpPr/>
              <p:nvPr/>
            </p:nvSpPr>
            <p:spPr>
              <a:xfrm>
                <a:off x="6323543" y="1491470"/>
                <a:ext cx="115308" cy="163579"/>
              </a:xfrm>
              <a:custGeom>
                <a:avLst/>
                <a:gdLst>
                  <a:gd name="connsiteX0" fmla="*/ 80173 w 129022"/>
                  <a:gd name="connsiteY0" fmla="*/ 183034 h 183034"/>
                  <a:gd name="connsiteX1" fmla="*/ 75205 w 129022"/>
                  <a:gd name="connsiteY1" fmla="*/ 178398 h 183034"/>
                  <a:gd name="connsiteX2" fmla="*/ 73246 w 129022"/>
                  <a:gd name="connsiteY2" fmla="*/ 123837 h 183034"/>
                  <a:gd name="connsiteX3" fmla="*/ 74708 w 129022"/>
                  <a:gd name="connsiteY3" fmla="*/ 120277 h 183034"/>
                  <a:gd name="connsiteX4" fmla="*/ 78241 w 129022"/>
                  <a:gd name="connsiteY4" fmla="*/ 118815 h 183034"/>
                  <a:gd name="connsiteX5" fmla="*/ 115939 w 129022"/>
                  <a:gd name="connsiteY5" fmla="*/ 118815 h 183034"/>
                  <a:gd name="connsiteX6" fmla="*/ 64525 w 129022"/>
                  <a:gd name="connsiteY6" fmla="*/ 15958 h 183034"/>
                  <a:gd name="connsiteX7" fmla="*/ 13111 w 129022"/>
                  <a:gd name="connsiteY7" fmla="*/ 118815 h 183034"/>
                  <a:gd name="connsiteX8" fmla="*/ 50809 w 129022"/>
                  <a:gd name="connsiteY8" fmla="*/ 118815 h 183034"/>
                  <a:gd name="connsiteX9" fmla="*/ 55804 w 129022"/>
                  <a:gd name="connsiteY9" fmla="*/ 123810 h 183034"/>
                  <a:gd name="connsiteX10" fmla="*/ 54093 w 129022"/>
                  <a:gd name="connsiteY10" fmla="*/ 176908 h 183034"/>
                  <a:gd name="connsiteX11" fmla="*/ 48767 w 129022"/>
                  <a:gd name="connsiteY11" fmla="*/ 181572 h 183034"/>
                  <a:gd name="connsiteX12" fmla="*/ 44103 w 129022"/>
                  <a:gd name="connsiteY12" fmla="*/ 176245 h 183034"/>
                  <a:gd name="connsiteX13" fmla="*/ 45758 w 129022"/>
                  <a:gd name="connsiteY13" fmla="*/ 128805 h 183034"/>
                  <a:gd name="connsiteX14" fmla="*/ 4997 w 129022"/>
                  <a:gd name="connsiteY14" fmla="*/ 128805 h 183034"/>
                  <a:gd name="connsiteX15" fmla="*/ 747 w 129022"/>
                  <a:gd name="connsiteY15" fmla="*/ 126431 h 183034"/>
                  <a:gd name="connsiteX16" fmla="*/ 526 w 129022"/>
                  <a:gd name="connsiteY16" fmla="*/ 121574 h 183034"/>
                  <a:gd name="connsiteX17" fmla="*/ 60026 w 129022"/>
                  <a:gd name="connsiteY17" fmla="*/ 2546 h 183034"/>
                  <a:gd name="connsiteX18" fmla="*/ 68968 w 129022"/>
                  <a:gd name="connsiteY18" fmla="*/ 2546 h 183034"/>
                  <a:gd name="connsiteX19" fmla="*/ 128496 w 129022"/>
                  <a:gd name="connsiteY19" fmla="*/ 121574 h 183034"/>
                  <a:gd name="connsiteX20" fmla="*/ 128275 w 129022"/>
                  <a:gd name="connsiteY20" fmla="*/ 126431 h 183034"/>
                  <a:gd name="connsiteX21" fmla="*/ 124025 w 129022"/>
                  <a:gd name="connsiteY21" fmla="*/ 128805 h 183034"/>
                  <a:gd name="connsiteX22" fmla="*/ 83291 w 129022"/>
                  <a:gd name="connsiteY22" fmla="*/ 128805 h 183034"/>
                  <a:gd name="connsiteX23" fmla="*/ 85195 w 129022"/>
                  <a:gd name="connsiteY23" fmla="*/ 177680 h 183034"/>
                  <a:gd name="connsiteX24" fmla="*/ 80559 w 129022"/>
                  <a:gd name="connsiteY24" fmla="*/ 183007 h 183034"/>
                  <a:gd name="connsiteX25" fmla="*/ 80173 w 129022"/>
                  <a:gd name="connsiteY25" fmla="*/ 183034 h 183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9022" h="183034">
                    <a:moveTo>
                      <a:pt x="80173" y="183034"/>
                    </a:moveTo>
                    <a:cubicBezTo>
                      <a:pt x="77579" y="183034"/>
                      <a:pt x="75371" y="181020"/>
                      <a:pt x="75205" y="178398"/>
                    </a:cubicBezTo>
                    <a:cubicBezTo>
                      <a:pt x="73963" y="160984"/>
                      <a:pt x="73301" y="142631"/>
                      <a:pt x="73246" y="123837"/>
                    </a:cubicBezTo>
                    <a:cubicBezTo>
                      <a:pt x="73246" y="122513"/>
                      <a:pt x="73770" y="121216"/>
                      <a:pt x="74708" y="120277"/>
                    </a:cubicBezTo>
                    <a:cubicBezTo>
                      <a:pt x="75647" y="119339"/>
                      <a:pt x="76916" y="118815"/>
                      <a:pt x="78241" y="118815"/>
                    </a:cubicBezTo>
                    <a:lnTo>
                      <a:pt x="115939" y="118815"/>
                    </a:lnTo>
                    <a:lnTo>
                      <a:pt x="64525" y="15958"/>
                    </a:lnTo>
                    <a:lnTo>
                      <a:pt x="13111" y="118815"/>
                    </a:lnTo>
                    <a:lnTo>
                      <a:pt x="50809" y="118815"/>
                    </a:lnTo>
                    <a:cubicBezTo>
                      <a:pt x="53569" y="118815"/>
                      <a:pt x="55804" y="121050"/>
                      <a:pt x="55804" y="123810"/>
                    </a:cubicBezTo>
                    <a:cubicBezTo>
                      <a:pt x="55804" y="142107"/>
                      <a:pt x="55224" y="159990"/>
                      <a:pt x="54093" y="176908"/>
                    </a:cubicBezTo>
                    <a:cubicBezTo>
                      <a:pt x="53900" y="179667"/>
                      <a:pt x="51471" y="181765"/>
                      <a:pt x="48767" y="181572"/>
                    </a:cubicBezTo>
                    <a:cubicBezTo>
                      <a:pt x="46007" y="181378"/>
                      <a:pt x="43909" y="179005"/>
                      <a:pt x="44103" y="176245"/>
                    </a:cubicBezTo>
                    <a:cubicBezTo>
                      <a:pt x="45124" y="161094"/>
                      <a:pt x="45676" y="145143"/>
                      <a:pt x="45758" y="128805"/>
                    </a:cubicBezTo>
                    <a:lnTo>
                      <a:pt x="4997" y="128805"/>
                    </a:lnTo>
                    <a:cubicBezTo>
                      <a:pt x="3258" y="128805"/>
                      <a:pt x="1658" y="127894"/>
                      <a:pt x="747" y="126431"/>
                    </a:cubicBezTo>
                    <a:cubicBezTo>
                      <a:pt x="-164" y="124941"/>
                      <a:pt x="-247" y="123120"/>
                      <a:pt x="526" y="121574"/>
                    </a:cubicBezTo>
                    <a:lnTo>
                      <a:pt x="60026" y="2546"/>
                    </a:lnTo>
                    <a:cubicBezTo>
                      <a:pt x="61710" y="-849"/>
                      <a:pt x="67285" y="-849"/>
                      <a:pt x="68968" y="2546"/>
                    </a:cubicBezTo>
                    <a:lnTo>
                      <a:pt x="128496" y="121574"/>
                    </a:lnTo>
                    <a:cubicBezTo>
                      <a:pt x="129269" y="123120"/>
                      <a:pt x="129186" y="124969"/>
                      <a:pt x="128275" y="126431"/>
                    </a:cubicBezTo>
                    <a:cubicBezTo>
                      <a:pt x="127365" y="127894"/>
                      <a:pt x="125764" y="128805"/>
                      <a:pt x="124025" y="128805"/>
                    </a:cubicBezTo>
                    <a:lnTo>
                      <a:pt x="83291" y="128805"/>
                    </a:lnTo>
                    <a:cubicBezTo>
                      <a:pt x="83429" y="145639"/>
                      <a:pt x="84092" y="162032"/>
                      <a:pt x="85195" y="177680"/>
                    </a:cubicBezTo>
                    <a:cubicBezTo>
                      <a:pt x="85389" y="180440"/>
                      <a:pt x="83319" y="182813"/>
                      <a:pt x="80559" y="183007"/>
                    </a:cubicBezTo>
                    <a:cubicBezTo>
                      <a:pt x="80421" y="183007"/>
                      <a:pt x="80283" y="183034"/>
                      <a:pt x="80173" y="183034"/>
                    </a:cubicBezTo>
                    <a:close/>
                  </a:path>
                </a:pathLst>
              </a:custGeom>
              <a:grpFill/>
              <a:ln w="2758"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76" name="Freihandform: Form 63">
                <a:extLst>
                  <a:ext uri="{FF2B5EF4-FFF2-40B4-BE49-F238E27FC236}">
                    <a16:creationId xmlns:a16="http://schemas.microsoft.com/office/drawing/2014/main" id="{210E6747-225D-D5FA-2BCA-0E3CC6BE8022}"/>
                  </a:ext>
                </a:extLst>
              </p:cNvPr>
              <p:cNvSpPr/>
              <p:nvPr/>
            </p:nvSpPr>
            <p:spPr>
              <a:xfrm rot="4428280" flipH="1" flipV="1">
                <a:off x="6112100" y="1546235"/>
                <a:ext cx="172009" cy="192747"/>
              </a:xfrm>
              <a:custGeom>
                <a:avLst/>
                <a:gdLst>
                  <a:gd name="connsiteX0" fmla="*/ 11801 w 192467"/>
                  <a:gd name="connsiteY0" fmla="*/ 215671 h 215671"/>
                  <a:gd name="connsiteX1" fmla="*/ 9235 w 192467"/>
                  <a:gd name="connsiteY1" fmla="*/ 214954 h 215671"/>
                  <a:gd name="connsiteX2" fmla="*/ 7524 w 192467"/>
                  <a:gd name="connsiteY2" fmla="*/ 208082 h 215671"/>
                  <a:gd name="connsiteX3" fmla="*/ 109717 w 192467"/>
                  <a:gd name="connsiteY3" fmla="*/ 95070 h 215671"/>
                  <a:gd name="connsiteX4" fmla="*/ 116506 w 192467"/>
                  <a:gd name="connsiteY4" fmla="*/ 95346 h 215671"/>
                  <a:gd name="connsiteX5" fmla="*/ 143166 w 192467"/>
                  <a:gd name="connsiteY5" fmla="*/ 121977 h 215671"/>
                  <a:gd name="connsiteX6" fmla="*/ 179539 w 192467"/>
                  <a:gd name="connsiteY6" fmla="*/ 12884 h 215671"/>
                  <a:gd name="connsiteX7" fmla="*/ 70446 w 192467"/>
                  <a:gd name="connsiteY7" fmla="*/ 49258 h 215671"/>
                  <a:gd name="connsiteX8" fmla="*/ 97105 w 192467"/>
                  <a:gd name="connsiteY8" fmla="*/ 75917 h 215671"/>
                  <a:gd name="connsiteX9" fmla="*/ 98540 w 192467"/>
                  <a:gd name="connsiteY9" fmla="*/ 80029 h 215671"/>
                  <a:gd name="connsiteX10" fmla="*/ 96195 w 192467"/>
                  <a:gd name="connsiteY10" fmla="*/ 83700 h 215671"/>
                  <a:gd name="connsiteX11" fmla="*/ 8351 w 192467"/>
                  <a:gd name="connsiteY11" fmla="*/ 148057 h 215671"/>
                  <a:gd name="connsiteX12" fmla="*/ 1286 w 192467"/>
                  <a:gd name="connsiteY12" fmla="*/ 147698 h 215671"/>
                  <a:gd name="connsiteX13" fmla="*/ 1645 w 192467"/>
                  <a:gd name="connsiteY13" fmla="*/ 140633 h 215671"/>
                  <a:gd name="connsiteX14" fmla="*/ 85569 w 192467"/>
                  <a:gd name="connsiteY14" fmla="*/ 78511 h 215671"/>
                  <a:gd name="connsiteX15" fmla="*/ 57668 w 192467"/>
                  <a:gd name="connsiteY15" fmla="*/ 50610 h 215671"/>
                  <a:gd name="connsiteX16" fmla="*/ 56344 w 192467"/>
                  <a:gd name="connsiteY16" fmla="*/ 45918 h 215671"/>
                  <a:gd name="connsiteX17" fmla="*/ 59628 w 192467"/>
                  <a:gd name="connsiteY17" fmla="*/ 42331 h 215671"/>
                  <a:gd name="connsiteX18" fmla="*/ 185887 w 192467"/>
                  <a:gd name="connsiteY18" fmla="*/ 244 h 215671"/>
                  <a:gd name="connsiteX19" fmla="*/ 190992 w 192467"/>
                  <a:gd name="connsiteY19" fmla="*/ 1459 h 215671"/>
                  <a:gd name="connsiteX20" fmla="*/ 192207 w 192467"/>
                  <a:gd name="connsiteY20" fmla="*/ 6564 h 215671"/>
                  <a:gd name="connsiteX21" fmla="*/ 150120 w 192467"/>
                  <a:gd name="connsiteY21" fmla="*/ 132823 h 215671"/>
                  <a:gd name="connsiteX22" fmla="*/ 146533 w 192467"/>
                  <a:gd name="connsiteY22" fmla="*/ 136107 h 215671"/>
                  <a:gd name="connsiteX23" fmla="*/ 141841 w 192467"/>
                  <a:gd name="connsiteY23" fmla="*/ 134783 h 215671"/>
                  <a:gd name="connsiteX24" fmla="*/ 112753 w 192467"/>
                  <a:gd name="connsiteY24" fmla="*/ 105695 h 215671"/>
                  <a:gd name="connsiteX25" fmla="*/ 16134 w 192467"/>
                  <a:gd name="connsiteY25" fmla="*/ 213243 h 215671"/>
                  <a:gd name="connsiteX26" fmla="*/ 11801 w 192467"/>
                  <a:gd name="connsiteY26" fmla="*/ 215671 h 215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2467" h="215671">
                    <a:moveTo>
                      <a:pt x="11801" y="215671"/>
                    </a:moveTo>
                    <a:cubicBezTo>
                      <a:pt x="10918" y="215671"/>
                      <a:pt x="10035" y="215451"/>
                      <a:pt x="9235" y="214954"/>
                    </a:cubicBezTo>
                    <a:cubicBezTo>
                      <a:pt x="6861" y="213546"/>
                      <a:pt x="6116" y="210455"/>
                      <a:pt x="7524" y="208082"/>
                    </a:cubicBezTo>
                    <a:cubicBezTo>
                      <a:pt x="28691" y="172895"/>
                      <a:pt x="63077" y="134865"/>
                      <a:pt x="109717" y="95070"/>
                    </a:cubicBezTo>
                    <a:cubicBezTo>
                      <a:pt x="111704" y="93359"/>
                      <a:pt x="114657" y="93497"/>
                      <a:pt x="116506" y="95346"/>
                    </a:cubicBezTo>
                    <a:lnTo>
                      <a:pt x="143166" y="121977"/>
                    </a:lnTo>
                    <a:lnTo>
                      <a:pt x="179539" y="12884"/>
                    </a:lnTo>
                    <a:lnTo>
                      <a:pt x="70446" y="49258"/>
                    </a:lnTo>
                    <a:lnTo>
                      <a:pt x="97105" y="75917"/>
                    </a:lnTo>
                    <a:cubicBezTo>
                      <a:pt x="98182" y="76993"/>
                      <a:pt x="98706" y="78511"/>
                      <a:pt x="98540" y="80029"/>
                    </a:cubicBezTo>
                    <a:cubicBezTo>
                      <a:pt x="98347" y="81547"/>
                      <a:pt x="97492" y="82899"/>
                      <a:pt x="96195" y="83700"/>
                    </a:cubicBezTo>
                    <a:cubicBezTo>
                      <a:pt x="61974" y="104757"/>
                      <a:pt x="32416" y="126421"/>
                      <a:pt x="8351" y="148057"/>
                    </a:cubicBezTo>
                    <a:cubicBezTo>
                      <a:pt x="6282" y="149906"/>
                      <a:pt x="3135" y="149741"/>
                      <a:pt x="1286" y="147698"/>
                    </a:cubicBezTo>
                    <a:cubicBezTo>
                      <a:pt x="-563" y="145629"/>
                      <a:pt x="-397" y="142482"/>
                      <a:pt x="1645" y="140633"/>
                    </a:cubicBezTo>
                    <a:cubicBezTo>
                      <a:pt x="24910" y="119714"/>
                      <a:pt x="53115" y="98851"/>
                      <a:pt x="85569" y="78511"/>
                    </a:cubicBezTo>
                    <a:lnTo>
                      <a:pt x="57668" y="50610"/>
                    </a:lnTo>
                    <a:cubicBezTo>
                      <a:pt x="56454" y="49396"/>
                      <a:pt x="55930" y="47602"/>
                      <a:pt x="56344" y="45918"/>
                    </a:cubicBezTo>
                    <a:cubicBezTo>
                      <a:pt x="56730" y="44235"/>
                      <a:pt x="57972" y="42883"/>
                      <a:pt x="59628" y="42331"/>
                    </a:cubicBezTo>
                    <a:lnTo>
                      <a:pt x="185887" y="244"/>
                    </a:lnTo>
                    <a:cubicBezTo>
                      <a:pt x="187681" y="-335"/>
                      <a:pt x="189668" y="134"/>
                      <a:pt x="190992" y="1459"/>
                    </a:cubicBezTo>
                    <a:cubicBezTo>
                      <a:pt x="192345" y="2811"/>
                      <a:pt x="192814" y="4771"/>
                      <a:pt x="192207" y="6564"/>
                    </a:cubicBezTo>
                    <a:lnTo>
                      <a:pt x="150120" y="132823"/>
                    </a:lnTo>
                    <a:cubicBezTo>
                      <a:pt x="149568" y="134452"/>
                      <a:pt x="148216" y="135721"/>
                      <a:pt x="146533" y="136107"/>
                    </a:cubicBezTo>
                    <a:cubicBezTo>
                      <a:pt x="144877" y="136521"/>
                      <a:pt x="143083" y="135997"/>
                      <a:pt x="141841" y="134783"/>
                    </a:cubicBezTo>
                    <a:lnTo>
                      <a:pt x="112753" y="105695"/>
                    </a:lnTo>
                    <a:cubicBezTo>
                      <a:pt x="68707" y="143697"/>
                      <a:pt x="36225" y="179877"/>
                      <a:pt x="16134" y="213243"/>
                    </a:cubicBezTo>
                    <a:cubicBezTo>
                      <a:pt x="15168" y="214816"/>
                      <a:pt x="13512" y="215671"/>
                      <a:pt x="11801" y="215671"/>
                    </a:cubicBezTo>
                    <a:close/>
                  </a:path>
                </a:pathLst>
              </a:custGeom>
              <a:grpFill/>
              <a:ln w="2758"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77" name="Freihandform: Form 106">
                <a:extLst>
                  <a:ext uri="{FF2B5EF4-FFF2-40B4-BE49-F238E27FC236}">
                    <a16:creationId xmlns:a16="http://schemas.microsoft.com/office/drawing/2014/main" id="{0481A1FE-7D3E-270C-2C04-ECE4A092FFD7}"/>
                  </a:ext>
                </a:extLst>
              </p:cNvPr>
              <p:cNvSpPr/>
              <p:nvPr/>
            </p:nvSpPr>
            <p:spPr>
              <a:xfrm rot="17171720" flipV="1">
                <a:off x="6474049" y="1546235"/>
                <a:ext cx="172009" cy="192747"/>
              </a:xfrm>
              <a:custGeom>
                <a:avLst/>
                <a:gdLst>
                  <a:gd name="connsiteX0" fmla="*/ 11801 w 192467"/>
                  <a:gd name="connsiteY0" fmla="*/ 215671 h 215671"/>
                  <a:gd name="connsiteX1" fmla="*/ 9235 w 192467"/>
                  <a:gd name="connsiteY1" fmla="*/ 214954 h 215671"/>
                  <a:gd name="connsiteX2" fmla="*/ 7524 w 192467"/>
                  <a:gd name="connsiteY2" fmla="*/ 208082 h 215671"/>
                  <a:gd name="connsiteX3" fmla="*/ 109717 w 192467"/>
                  <a:gd name="connsiteY3" fmla="*/ 95070 h 215671"/>
                  <a:gd name="connsiteX4" fmla="*/ 116506 w 192467"/>
                  <a:gd name="connsiteY4" fmla="*/ 95346 h 215671"/>
                  <a:gd name="connsiteX5" fmla="*/ 143166 w 192467"/>
                  <a:gd name="connsiteY5" fmla="*/ 121977 h 215671"/>
                  <a:gd name="connsiteX6" fmla="*/ 179539 w 192467"/>
                  <a:gd name="connsiteY6" fmla="*/ 12884 h 215671"/>
                  <a:gd name="connsiteX7" fmla="*/ 70446 w 192467"/>
                  <a:gd name="connsiteY7" fmla="*/ 49258 h 215671"/>
                  <a:gd name="connsiteX8" fmla="*/ 97105 w 192467"/>
                  <a:gd name="connsiteY8" fmla="*/ 75917 h 215671"/>
                  <a:gd name="connsiteX9" fmla="*/ 98540 w 192467"/>
                  <a:gd name="connsiteY9" fmla="*/ 80029 h 215671"/>
                  <a:gd name="connsiteX10" fmla="*/ 96195 w 192467"/>
                  <a:gd name="connsiteY10" fmla="*/ 83700 h 215671"/>
                  <a:gd name="connsiteX11" fmla="*/ 8351 w 192467"/>
                  <a:gd name="connsiteY11" fmla="*/ 148057 h 215671"/>
                  <a:gd name="connsiteX12" fmla="*/ 1286 w 192467"/>
                  <a:gd name="connsiteY12" fmla="*/ 147698 h 215671"/>
                  <a:gd name="connsiteX13" fmla="*/ 1645 w 192467"/>
                  <a:gd name="connsiteY13" fmla="*/ 140633 h 215671"/>
                  <a:gd name="connsiteX14" fmla="*/ 85569 w 192467"/>
                  <a:gd name="connsiteY14" fmla="*/ 78511 h 215671"/>
                  <a:gd name="connsiteX15" fmla="*/ 57668 w 192467"/>
                  <a:gd name="connsiteY15" fmla="*/ 50610 h 215671"/>
                  <a:gd name="connsiteX16" fmla="*/ 56344 w 192467"/>
                  <a:gd name="connsiteY16" fmla="*/ 45918 h 215671"/>
                  <a:gd name="connsiteX17" fmla="*/ 59628 w 192467"/>
                  <a:gd name="connsiteY17" fmla="*/ 42331 h 215671"/>
                  <a:gd name="connsiteX18" fmla="*/ 185887 w 192467"/>
                  <a:gd name="connsiteY18" fmla="*/ 244 h 215671"/>
                  <a:gd name="connsiteX19" fmla="*/ 190992 w 192467"/>
                  <a:gd name="connsiteY19" fmla="*/ 1459 h 215671"/>
                  <a:gd name="connsiteX20" fmla="*/ 192207 w 192467"/>
                  <a:gd name="connsiteY20" fmla="*/ 6564 h 215671"/>
                  <a:gd name="connsiteX21" fmla="*/ 150120 w 192467"/>
                  <a:gd name="connsiteY21" fmla="*/ 132823 h 215671"/>
                  <a:gd name="connsiteX22" fmla="*/ 146533 w 192467"/>
                  <a:gd name="connsiteY22" fmla="*/ 136107 h 215671"/>
                  <a:gd name="connsiteX23" fmla="*/ 141841 w 192467"/>
                  <a:gd name="connsiteY23" fmla="*/ 134783 h 215671"/>
                  <a:gd name="connsiteX24" fmla="*/ 112753 w 192467"/>
                  <a:gd name="connsiteY24" fmla="*/ 105695 h 215671"/>
                  <a:gd name="connsiteX25" fmla="*/ 16134 w 192467"/>
                  <a:gd name="connsiteY25" fmla="*/ 213243 h 215671"/>
                  <a:gd name="connsiteX26" fmla="*/ 11801 w 192467"/>
                  <a:gd name="connsiteY26" fmla="*/ 215671 h 215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2467" h="215671">
                    <a:moveTo>
                      <a:pt x="11801" y="215671"/>
                    </a:moveTo>
                    <a:cubicBezTo>
                      <a:pt x="10918" y="215671"/>
                      <a:pt x="10035" y="215451"/>
                      <a:pt x="9235" y="214954"/>
                    </a:cubicBezTo>
                    <a:cubicBezTo>
                      <a:pt x="6861" y="213546"/>
                      <a:pt x="6116" y="210455"/>
                      <a:pt x="7524" y="208082"/>
                    </a:cubicBezTo>
                    <a:cubicBezTo>
                      <a:pt x="28691" y="172895"/>
                      <a:pt x="63077" y="134865"/>
                      <a:pt x="109717" y="95070"/>
                    </a:cubicBezTo>
                    <a:cubicBezTo>
                      <a:pt x="111704" y="93359"/>
                      <a:pt x="114657" y="93497"/>
                      <a:pt x="116506" y="95346"/>
                    </a:cubicBezTo>
                    <a:lnTo>
                      <a:pt x="143166" y="121977"/>
                    </a:lnTo>
                    <a:lnTo>
                      <a:pt x="179539" y="12884"/>
                    </a:lnTo>
                    <a:lnTo>
                      <a:pt x="70446" y="49258"/>
                    </a:lnTo>
                    <a:lnTo>
                      <a:pt x="97105" y="75917"/>
                    </a:lnTo>
                    <a:cubicBezTo>
                      <a:pt x="98182" y="76993"/>
                      <a:pt x="98706" y="78511"/>
                      <a:pt x="98540" y="80029"/>
                    </a:cubicBezTo>
                    <a:cubicBezTo>
                      <a:pt x="98347" y="81547"/>
                      <a:pt x="97492" y="82899"/>
                      <a:pt x="96195" y="83700"/>
                    </a:cubicBezTo>
                    <a:cubicBezTo>
                      <a:pt x="61974" y="104757"/>
                      <a:pt x="32416" y="126421"/>
                      <a:pt x="8351" y="148057"/>
                    </a:cubicBezTo>
                    <a:cubicBezTo>
                      <a:pt x="6282" y="149906"/>
                      <a:pt x="3135" y="149741"/>
                      <a:pt x="1286" y="147698"/>
                    </a:cubicBezTo>
                    <a:cubicBezTo>
                      <a:pt x="-563" y="145629"/>
                      <a:pt x="-397" y="142482"/>
                      <a:pt x="1645" y="140633"/>
                    </a:cubicBezTo>
                    <a:cubicBezTo>
                      <a:pt x="24910" y="119714"/>
                      <a:pt x="53115" y="98851"/>
                      <a:pt x="85569" y="78511"/>
                    </a:cubicBezTo>
                    <a:lnTo>
                      <a:pt x="57668" y="50610"/>
                    </a:lnTo>
                    <a:cubicBezTo>
                      <a:pt x="56454" y="49396"/>
                      <a:pt x="55930" y="47602"/>
                      <a:pt x="56344" y="45918"/>
                    </a:cubicBezTo>
                    <a:cubicBezTo>
                      <a:pt x="56730" y="44235"/>
                      <a:pt x="57972" y="42883"/>
                      <a:pt x="59628" y="42331"/>
                    </a:cubicBezTo>
                    <a:lnTo>
                      <a:pt x="185887" y="244"/>
                    </a:lnTo>
                    <a:cubicBezTo>
                      <a:pt x="187681" y="-335"/>
                      <a:pt x="189668" y="134"/>
                      <a:pt x="190992" y="1459"/>
                    </a:cubicBezTo>
                    <a:cubicBezTo>
                      <a:pt x="192345" y="2811"/>
                      <a:pt x="192814" y="4771"/>
                      <a:pt x="192207" y="6564"/>
                    </a:cubicBezTo>
                    <a:lnTo>
                      <a:pt x="150120" y="132823"/>
                    </a:lnTo>
                    <a:cubicBezTo>
                      <a:pt x="149568" y="134452"/>
                      <a:pt x="148216" y="135721"/>
                      <a:pt x="146533" y="136107"/>
                    </a:cubicBezTo>
                    <a:cubicBezTo>
                      <a:pt x="144877" y="136521"/>
                      <a:pt x="143083" y="135997"/>
                      <a:pt x="141841" y="134783"/>
                    </a:cubicBezTo>
                    <a:lnTo>
                      <a:pt x="112753" y="105695"/>
                    </a:lnTo>
                    <a:cubicBezTo>
                      <a:pt x="68707" y="143697"/>
                      <a:pt x="36225" y="179877"/>
                      <a:pt x="16134" y="213243"/>
                    </a:cubicBezTo>
                    <a:cubicBezTo>
                      <a:pt x="15168" y="214816"/>
                      <a:pt x="13512" y="215671"/>
                      <a:pt x="11801" y="215671"/>
                    </a:cubicBezTo>
                    <a:close/>
                  </a:path>
                </a:pathLst>
              </a:custGeom>
              <a:grpFill/>
              <a:ln w="2758"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grpSp>
        <p:sp>
          <p:nvSpPr>
            <p:cNvPr id="74" name="Freihandform: Form 82">
              <a:extLst>
                <a:ext uri="{FF2B5EF4-FFF2-40B4-BE49-F238E27FC236}">
                  <a16:creationId xmlns:a16="http://schemas.microsoft.com/office/drawing/2014/main" id="{B62BBCAA-E2E6-10F9-D8CF-605D558C7A7E}"/>
                </a:ext>
              </a:extLst>
            </p:cNvPr>
            <p:cNvSpPr/>
            <p:nvPr/>
          </p:nvSpPr>
          <p:spPr>
            <a:xfrm>
              <a:off x="6328580" y="2153401"/>
              <a:ext cx="282094" cy="14836"/>
            </a:xfrm>
            <a:custGeom>
              <a:avLst/>
              <a:gdLst>
                <a:gd name="connsiteX0" fmla="*/ 242047 w 248584"/>
                <a:gd name="connsiteY0" fmla="*/ 13074 h 13074"/>
                <a:gd name="connsiteX1" fmla="*/ 6537 w 248584"/>
                <a:gd name="connsiteY1" fmla="*/ 13074 h 13074"/>
                <a:gd name="connsiteX2" fmla="*/ 0 w 248584"/>
                <a:gd name="connsiteY2" fmla="*/ 6537 h 13074"/>
                <a:gd name="connsiteX3" fmla="*/ 6537 w 248584"/>
                <a:gd name="connsiteY3" fmla="*/ 0 h 13074"/>
                <a:gd name="connsiteX4" fmla="*/ 242047 w 248584"/>
                <a:gd name="connsiteY4" fmla="*/ 0 h 13074"/>
                <a:gd name="connsiteX5" fmla="*/ 248585 w 248584"/>
                <a:gd name="connsiteY5" fmla="*/ 6537 h 13074"/>
                <a:gd name="connsiteX6" fmla="*/ 242047 w 248584"/>
                <a:gd name="connsiteY6" fmla="*/ 13074 h 13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8584" h="13074">
                  <a:moveTo>
                    <a:pt x="242047" y="13074"/>
                  </a:moveTo>
                  <a:lnTo>
                    <a:pt x="6537" y="13074"/>
                  </a:lnTo>
                  <a:cubicBezTo>
                    <a:pt x="2930" y="13074"/>
                    <a:pt x="0" y="10144"/>
                    <a:pt x="0" y="6537"/>
                  </a:cubicBezTo>
                  <a:cubicBezTo>
                    <a:pt x="0" y="2931"/>
                    <a:pt x="2930" y="0"/>
                    <a:pt x="6537" y="0"/>
                  </a:cubicBezTo>
                  <a:lnTo>
                    <a:pt x="242047" y="0"/>
                  </a:lnTo>
                  <a:cubicBezTo>
                    <a:pt x="245654" y="0"/>
                    <a:pt x="248585" y="2931"/>
                    <a:pt x="248585" y="6537"/>
                  </a:cubicBezTo>
                  <a:cubicBezTo>
                    <a:pt x="248585" y="10144"/>
                    <a:pt x="245682" y="13074"/>
                    <a:pt x="242047" y="13074"/>
                  </a:cubicBezTo>
                  <a:close/>
                </a:path>
              </a:pathLst>
            </a:custGeom>
            <a:solidFill>
              <a:schemeClr val="bg2"/>
            </a:solidFill>
            <a:ln w="2810"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grpSp>
      <p:grpSp>
        <p:nvGrpSpPr>
          <p:cNvPr id="18" name="Group 25">
            <a:extLst>
              <a:ext uri="{FF2B5EF4-FFF2-40B4-BE49-F238E27FC236}">
                <a16:creationId xmlns:a16="http://schemas.microsoft.com/office/drawing/2014/main" id="{1DE93C87-B675-5C4D-A74A-B8DE6B0B5DB7}"/>
              </a:ext>
            </a:extLst>
          </p:cNvPr>
          <p:cNvGrpSpPr/>
          <p:nvPr/>
        </p:nvGrpSpPr>
        <p:grpSpPr>
          <a:xfrm>
            <a:off x="700548" y="3650151"/>
            <a:ext cx="814853" cy="810721"/>
            <a:chOff x="700548" y="3650151"/>
            <a:chExt cx="699918" cy="716401"/>
          </a:xfrm>
        </p:grpSpPr>
        <p:grpSp>
          <p:nvGrpSpPr>
            <p:cNvPr id="21" name="Group 233">
              <a:extLst>
                <a:ext uri="{FF2B5EF4-FFF2-40B4-BE49-F238E27FC236}">
                  <a16:creationId xmlns:a16="http://schemas.microsoft.com/office/drawing/2014/main" id="{8C326226-E8B9-EE21-C009-13190DBB123F}"/>
                </a:ext>
              </a:extLst>
            </p:cNvPr>
            <p:cNvGrpSpPr/>
            <p:nvPr/>
          </p:nvGrpSpPr>
          <p:grpSpPr>
            <a:xfrm>
              <a:off x="798572" y="3756404"/>
              <a:ext cx="503896" cy="504788"/>
              <a:chOff x="798570" y="3756404"/>
              <a:chExt cx="439376" cy="440155"/>
            </a:xfrm>
            <a:solidFill>
              <a:schemeClr val="tx2"/>
            </a:solidFill>
          </p:grpSpPr>
          <p:sp>
            <p:nvSpPr>
              <p:cNvPr id="37" name="Freihandform: Form 166">
                <a:extLst>
                  <a:ext uri="{FF2B5EF4-FFF2-40B4-BE49-F238E27FC236}">
                    <a16:creationId xmlns:a16="http://schemas.microsoft.com/office/drawing/2014/main" id="{61D94F4A-2027-EF08-3176-3129637D5001}"/>
                  </a:ext>
                </a:extLst>
              </p:cNvPr>
              <p:cNvSpPr/>
              <p:nvPr/>
            </p:nvSpPr>
            <p:spPr>
              <a:xfrm>
                <a:off x="884688" y="3843225"/>
                <a:ext cx="268324" cy="268324"/>
              </a:xfrm>
              <a:custGeom>
                <a:avLst/>
                <a:gdLst>
                  <a:gd name="connsiteX0" fmla="*/ 134162 w 268324"/>
                  <a:gd name="connsiteY0" fmla="*/ 0 h 268324"/>
                  <a:gd name="connsiteX1" fmla="*/ 0 w 268324"/>
                  <a:gd name="connsiteY1" fmla="*/ 134162 h 268324"/>
                  <a:gd name="connsiteX2" fmla="*/ 134162 w 268324"/>
                  <a:gd name="connsiteY2" fmla="*/ 268324 h 268324"/>
                  <a:gd name="connsiteX3" fmla="*/ 268324 w 268324"/>
                  <a:gd name="connsiteY3" fmla="*/ 134162 h 268324"/>
                  <a:gd name="connsiteX4" fmla="*/ 134162 w 268324"/>
                  <a:gd name="connsiteY4" fmla="*/ 0 h 268324"/>
                  <a:gd name="connsiteX5" fmla="*/ 134162 w 268324"/>
                  <a:gd name="connsiteY5" fmla="*/ 258716 h 268324"/>
                  <a:gd name="connsiteX6" fmla="*/ 9583 w 268324"/>
                  <a:gd name="connsiteY6" fmla="*/ 134136 h 268324"/>
                  <a:gd name="connsiteX7" fmla="*/ 134162 w 268324"/>
                  <a:gd name="connsiteY7" fmla="*/ 9583 h 268324"/>
                  <a:gd name="connsiteX8" fmla="*/ 258741 w 268324"/>
                  <a:gd name="connsiteY8" fmla="*/ 134136 h 268324"/>
                  <a:gd name="connsiteX9" fmla="*/ 134162 w 268324"/>
                  <a:gd name="connsiteY9" fmla="*/ 258716 h 268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324" h="268324">
                    <a:moveTo>
                      <a:pt x="134162" y="0"/>
                    </a:moveTo>
                    <a:cubicBezTo>
                      <a:pt x="60177" y="0"/>
                      <a:pt x="0" y="60177"/>
                      <a:pt x="0" y="134162"/>
                    </a:cubicBezTo>
                    <a:cubicBezTo>
                      <a:pt x="0" y="208147"/>
                      <a:pt x="60177" y="268324"/>
                      <a:pt x="134162" y="268324"/>
                    </a:cubicBezTo>
                    <a:cubicBezTo>
                      <a:pt x="208147" y="268324"/>
                      <a:pt x="268324" y="208147"/>
                      <a:pt x="268324" y="134162"/>
                    </a:cubicBezTo>
                    <a:cubicBezTo>
                      <a:pt x="268299" y="60177"/>
                      <a:pt x="208121" y="0"/>
                      <a:pt x="134162" y="0"/>
                    </a:cubicBezTo>
                    <a:close/>
                    <a:moveTo>
                      <a:pt x="134162" y="258716"/>
                    </a:moveTo>
                    <a:cubicBezTo>
                      <a:pt x="65458" y="258716"/>
                      <a:pt x="9583" y="202841"/>
                      <a:pt x="9583" y="134136"/>
                    </a:cubicBezTo>
                    <a:cubicBezTo>
                      <a:pt x="9583" y="65458"/>
                      <a:pt x="65458" y="9583"/>
                      <a:pt x="134162" y="9583"/>
                    </a:cubicBezTo>
                    <a:cubicBezTo>
                      <a:pt x="202840" y="9583"/>
                      <a:pt x="258741" y="65458"/>
                      <a:pt x="258741" y="134136"/>
                    </a:cubicBezTo>
                    <a:cubicBezTo>
                      <a:pt x="258716" y="202841"/>
                      <a:pt x="202840" y="258716"/>
                      <a:pt x="134162" y="258716"/>
                    </a:cubicBez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grpSp>
            <p:nvGrpSpPr>
              <p:cNvPr id="38" name="Grafik 34">
                <a:extLst>
                  <a:ext uri="{FF2B5EF4-FFF2-40B4-BE49-F238E27FC236}">
                    <a16:creationId xmlns:a16="http://schemas.microsoft.com/office/drawing/2014/main" id="{6E6BA7DE-D2AF-F4F5-B290-FF5408489FA0}"/>
                  </a:ext>
                </a:extLst>
              </p:cNvPr>
              <p:cNvGrpSpPr/>
              <p:nvPr/>
            </p:nvGrpSpPr>
            <p:grpSpPr>
              <a:xfrm>
                <a:off x="1106086" y="3825099"/>
                <a:ext cx="80303" cy="305436"/>
                <a:chOff x="1106086" y="3825099"/>
                <a:chExt cx="80303" cy="305436"/>
              </a:xfrm>
              <a:grpFill/>
            </p:grpSpPr>
            <p:sp>
              <p:nvSpPr>
                <p:cNvPr id="55" name="Freihandform: Form 184">
                  <a:extLst>
                    <a:ext uri="{FF2B5EF4-FFF2-40B4-BE49-F238E27FC236}">
                      <a16:creationId xmlns:a16="http://schemas.microsoft.com/office/drawing/2014/main" id="{67634C91-3749-796E-27BA-A754675FC0E1}"/>
                    </a:ext>
                  </a:extLst>
                </p:cNvPr>
                <p:cNvSpPr/>
                <p:nvPr/>
              </p:nvSpPr>
              <p:spPr>
                <a:xfrm>
                  <a:off x="1106086" y="3825099"/>
                  <a:ext cx="80303" cy="66170"/>
                </a:xfrm>
                <a:custGeom>
                  <a:avLst/>
                  <a:gdLst>
                    <a:gd name="connsiteX0" fmla="*/ 72533 w 80303"/>
                    <a:gd name="connsiteY0" fmla="*/ 1047 h 66170"/>
                    <a:gd name="connsiteX1" fmla="*/ 1794 w 80303"/>
                    <a:gd name="connsiteY1" fmla="*/ 57618 h 66170"/>
                    <a:gd name="connsiteX2" fmla="*/ 1047 w 80303"/>
                    <a:gd name="connsiteY2" fmla="*/ 64367 h 66170"/>
                    <a:gd name="connsiteX3" fmla="*/ 4782 w 80303"/>
                    <a:gd name="connsiteY3" fmla="*/ 66170 h 66170"/>
                    <a:gd name="connsiteX4" fmla="*/ 7771 w 80303"/>
                    <a:gd name="connsiteY4" fmla="*/ 65114 h 66170"/>
                    <a:gd name="connsiteX5" fmla="*/ 78510 w 80303"/>
                    <a:gd name="connsiteY5" fmla="*/ 8543 h 66170"/>
                    <a:gd name="connsiteX6" fmla="*/ 79257 w 80303"/>
                    <a:gd name="connsiteY6" fmla="*/ 1794 h 66170"/>
                    <a:gd name="connsiteX7" fmla="*/ 72533 w 80303"/>
                    <a:gd name="connsiteY7" fmla="*/ 1047 h 6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03" h="66170">
                      <a:moveTo>
                        <a:pt x="72533" y="1047"/>
                      </a:moveTo>
                      <a:lnTo>
                        <a:pt x="1794" y="57618"/>
                      </a:lnTo>
                      <a:cubicBezTo>
                        <a:pt x="-267" y="59266"/>
                        <a:pt x="-602" y="62280"/>
                        <a:pt x="1047" y="64367"/>
                      </a:cubicBezTo>
                      <a:cubicBezTo>
                        <a:pt x="2000" y="65552"/>
                        <a:pt x="3391" y="66170"/>
                        <a:pt x="4782" y="66170"/>
                      </a:cubicBezTo>
                      <a:cubicBezTo>
                        <a:pt x="5839" y="66170"/>
                        <a:pt x="6895" y="65836"/>
                        <a:pt x="7771" y="65114"/>
                      </a:cubicBezTo>
                      <a:lnTo>
                        <a:pt x="78510" y="8543"/>
                      </a:lnTo>
                      <a:cubicBezTo>
                        <a:pt x="80571" y="6895"/>
                        <a:pt x="80905" y="3881"/>
                        <a:pt x="79257" y="1794"/>
                      </a:cubicBezTo>
                      <a:cubicBezTo>
                        <a:pt x="77608" y="-267"/>
                        <a:pt x="74594" y="-602"/>
                        <a:pt x="72533" y="1047"/>
                      </a:cubicBez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56" name="Freihandform: Form 185">
                  <a:extLst>
                    <a:ext uri="{FF2B5EF4-FFF2-40B4-BE49-F238E27FC236}">
                      <a16:creationId xmlns:a16="http://schemas.microsoft.com/office/drawing/2014/main" id="{6236DE67-EDBD-0E5C-D050-BEA209A9B106}"/>
                    </a:ext>
                  </a:extLst>
                </p:cNvPr>
                <p:cNvSpPr/>
                <p:nvPr/>
              </p:nvSpPr>
              <p:spPr>
                <a:xfrm>
                  <a:off x="1106086" y="4064365"/>
                  <a:ext cx="80278" cy="66170"/>
                </a:xfrm>
                <a:custGeom>
                  <a:avLst/>
                  <a:gdLst>
                    <a:gd name="connsiteX0" fmla="*/ 7796 w 80278"/>
                    <a:gd name="connsiteY0" fmla="*/ 1047 h 66170"/>
                    <a:gd name="connsiteX1" fmla="*/ 1047 w 80278"/>
                    <a:gd name="connsiteY1" fmla="*/ 1794 h 66170"/>
                    <a:gd name="connsiteX2" fmla="*/ 1794 w 80278"/>
                    <a:gd name="connsiteY2" fmla="*/ 8543 h 66170"/>
                    <a:gd name="connsiteX3" fmla="*/ 72507 w 80278"/>
                    <a:gd name="connsiteY3" fmla="*/ 65114 h 66170"/>
                    <a:gd name="connsiteX4" fmla="*/ 75496 w 80278"/>
                    <a:gd name="connsiteY4" fmla="*/ 66170 h 66170"/>
                    <a:gd name="connsiteX5" fmla="*/ 79231 w 80278"/>
                    <a:gd name="connsiteY5" fmla="*/ 64367 h 66170"/>
                    <a:gd name="connsiteX6" fmla="*/ 78484 w 80278"/>
                    <a:gd name="connsiteY6" fmla="*/ 57618 h 66170"/>
                    <a:gd name="connsiteX7" fmla="*/ 7796 w 80278"/>
                    <a:gd name="connsiteY7" fmla="*/ 1047 h 6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78" h="66170">
                      <a:moveTo>
                        <a:pt x="7796" y="1047"/>
                      </a:moveTo>
                      <a:cubicBezTo>
                        <a:pt x="5735" y="-602"/>
                        <a:pt x="2721" y="-267"/>
                        <a:pt x="1047" y="1794"/>
                      </a:cubicBezTo>
                      <a:cubicBezTo>
                        <a:pt x="-602" y="3855"/>
                        <a:pt x="-267" y="6869"/>
                        <a:pt x="1794" y="8543"/>
                      </a:cubicBezTo>
                      <a:lnTo>
                        <a:pt x="72507" y="65114"/>
                      </a:lnTo>
                      <a:cubicBezTo>
                        <a:pt x="73383" y="65810"/>
                        <a:pt x="74440" y="66170"/>
                        <a:pt x="75496" y="66170"/>
                      </a:cubicBezTo>
                      <a:cubicBezTo>
                        <a:pt x="76913" y="66170"/>
                        <a:pt x="78304" y="65552"/>
                        <a:pt x="79231" y="64367"/>
                      </a:cubicBezTo>
                      <a:cubicBezTo>
                        <a:pt x="80880" y="62306"/>
                        <a:pt x="80545" y="59292"/>
                        <a:pt x="78484" y="57618"/>
                      </a:cubicBezTo>
                      <a:lnTo>
                        <a:pt x="7796" y="1047"/>
                      </a:ln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grpSp>
          <p:grpSp>
            <p:nvGrpSpPr>
              <p:cNvPr id="39" name="Grafik 34">
                <a:extLst>
                  <a:ext uri="{FF2B5EF4-FFF2-40B4-BE49-F238E27FC236}">
                    <a16:creationId xmlns:a16="http://schemas.microsoft.com/office/drawing/2014/main" id="{5064EEA1-691A-742C-1A55-E6BCC485AF0C}"/>
                  </a:ext>
                </a:extLst>
              </p:cNvPr>
              <p:cNvGrpSpPr/>
              <p:nvPr/>
            </p:nvGrpSpPr>
            <p:grpSpPr>
              <a:xfrm>
                <a:off x="846752" y="3824197"/>
                <a:ext cx="80303" cy="305462"/>
                <a:chOff x="846752" y="3824197"/>
                <a:chExt cx="80303" cy="305462"/>
              </a:xfrm>
              <a:grpFill/>
            </p:grpSpPr>
            <p:sp>
              <p:nvSpPr>
                <p:cNvPr id="53" name="Freihandform: Form 182">
                  <a:extLst>
                    <a:ext uri="{FF2B5EF4-FFF2-40B4-BE49-F238E27FC236}">
                      <a16:creationId xmlns:a16="http://schemas.microsoft.com/office/drawing/2014/main" id="{A9D3DA74-D3D8-91AC-226B-BD3A154D6F24}"/>
                    </a:ext>
                  </a:extLst>
                </p:cNvPr>
                <p:cNvSpPr/>
                <p:nvPr/>
              </p:nvSpPr>
              <p:spPr>
                <a:xfrm>
                  <a:off x="846752" y="4063489"/>
                  <a:ext cx="80303" cy="66170"/>
                </a:xfrm>
                <a:custGeom>
                  <a:avLst/>
                  <a:gdLst>
                    <a:gd name="connsiteX0" fmla="*/ 72533 w 80303"/>
                    <a:gd name="connsiteY0" fmla="*/ 1047 h 66170"/>
                    <a:gd name="connsiteX1" fmla="*/ 1794 w 80303"/>
                    <a:gd name="connsiteY1" fmla="*/ 57618 h 66170"/>
                    <a:gd name="connsiteX2" fmla="*/ 1047 w 80303"/>
                    <a:gd name="connsiteY2" fmla="*/ 64367 h 66170"/>
                    <a:gd name="connsiteX3" fmla="*/ 4782 w 80303"/>
                    <a:gd name="connsiteY3" fmla="*/ 66170 h 66170"/>
                    <a:gd name="connsiteX4" fmla="*/ 7771 w 80303"/>
                    <a:gd name="connsiteY4" fmla="*/ 65114 h 66170"/>
                    <a:gd name="connsiteX5" fmla="*/ 78510 w 80303"/>
                    <a:gd name="connsiteY5" fmla="*/ 8543 h 66170"/>
                    <a:gd name="connsiteX6" fmla="*/ 79257 w 80303"/>
                    <a:gd name="connsiteY6" fmla="*/ 1794 h 66170"/>
                    <a:gd name="connsiteX7" fmla="*/ 72533 w 80303"/>
                    <a:gd name="connsiteY7" fmla="*/ 1047 h 6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03" h="66170">
                      <a:moveTo>
                        <a:pt x="72533" y="1047"/>
                      </a:moveTo>
                      <a:lnTo>
                        <a:pt x="1794" y="57618"/>
                      </a:lnTo>
                      <a:cubicBezTo>
                        <a:pt x="-267" y="59267"/>
                        <a:pt x="-602" y="62280"/>
                        <a:pt x="1047" y="64367"/>
                      </a:cubicBezTo>
                      <a:cubicBezTo>
                        <a:pt x="2000" y="65552"/>
                        <a:pt x="3391" y="66170"/>
                        <a:pt x="4782" y="66170"/>
                      </a:cubicBezTo>
                      <a:cubicBezTo>
                        <a:pt x="5839" y="66170"/>
                        <a:pt x="6895" y="65835"/>
                        <a:pt x="7771" y="65114"/>
                      </a:cubicBezTo>
                      <a:lnTo>
                        <a:pt x="78510" y="8543"/>
                      </a:lnTo>
                      <a:cubicBezTo>
                        <a:pt x="80571" y="6895"/>
                        <a:pt x="80905" y="3881"/>
                        <a:pt x="79257" y="1794"/>
                      </a:cubicBezTo>
                      <a:cubicBezTo>
                        <a:pt x="77634" y="-267"/>
                        <a:pt x="74594" y="-601"/>
                        <a:pt x="72533" y="1047"/>
                      </a:cubicBez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54" name="Freihandform: Form 183">
                  <a:extLst>
                    <a:ext uri="{FF2B5EF4-FFF2-40B4-BE49-F238E27FC236}">
                      <a16:creationId xmlns:a16="http://schemas.microsoft.com/office/drawing/2014/main" id="{D25F9186-1176-B89B-6FFF-03036E30144B}"/>
                    </a:ext>
                  </a:extLst>
                </p:cNvPr>
                <p:cNvSpPr/>
                <p:nvPr/>
              </p:nvSpPr>
              <p:spPr>
                <a:xfrm>
                  <a:off x="846752" y="3824197"/>
                  <a:ext cx="80278" cy="66170"/>
                </a:xfrm>
                <a:custGeom>
                  <a:avLst/>
                  <a:gdLst>
                    <a:gd name="connsiteX0" fmla="*/ 7796 w 80278"/>
                    <a:gd name="connsiteY0" fmla="*/ 1047 h 66170"/>
                    <a:gd name="connsiteX1" fmla="*/ 1047 w 80278"/>
                    <a:gd name="connsiteY1" fmla="*/ 1794 h 66170"/>
                    <a:gd name="connsiteX2" fmla="*/ 1794 w 80278"/>
                    <a:gd name="connsiteY2" fmla="*/ 8543 h 66170"/>
                    <a:gd name="connsiteX3" fmla="*/ 72507 w 80278"/>
                    <a:gd name="connsiteY3" fmla="*/ 65114 h 66170"/>
                    <a:gd name="connsiteX4" fmla="*/ 75496 w 80278"/>
                    <a:gd name="connsiteY4" fmla="*/ 66170 h 66170"/>
                    <a:gd name="connsiteX5" fmla="*/ 79231 w 80278"/>
                    <a:gd name="connsiteY5" fmla="*/ 64367 h 66170"/>
                    <a:gd name="connsiteX6" fmla="*/ 78484 w 80278"/>
                    <a:gd name="connsiteY6" fmla="*/ 57618 h 66170"/>
                    <a:gd name="connsiteX7" fmla="*/ 7796 w 80278"/>
                    <a:gd name="connsiteY7" fmla="*/ 1047 h 6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78" h="66170">
                      <a:moveTo>
                        <a:pt x="7796" y="1047"/>
                      </a:moveTo>
                      <a:cubicBezTo>
                        <a:pt x="5736" y="-602"/>
                        <a:pt x="2721" y="-267"/>
                        <a:pt x="1047" y="1794"/>
                      </a:cubicBezTo>
                      <a:cubicBezTo>
                        <a:pt x="-602" y="3855"/>
                        <a:pt x="-267" y="6869"/>
                        <a:pt x="1794" y="8543"/>
                      </a:cubicBezTo>
                      <a:lnTo>
                        <a:pt x="72507" y="65114"/>
                      </a:lnTo>
                      <a:cubicBezTo>
                        <a:pt x="73383" y="65810"/>
                        <a:pt x="74440" y="66170"/>
                        <a:pt x="75496" y="66170"/>
                      </a:cubicBezTo>
                      <a:cubicBezTo>
                        <a:pt x="76913" y="66170"/>
                        <a:pt x="78304" y="65552"/>
                        <a:pt x="79231" y="64367"/>
                      </a:cubicBezTo>
                      <a:cubicBezTo>
                        <a:pt x="80880" y="62306"/>
                        <a:pt x="80545" y="59292"/>
                        <a:pt x="78484" y="57618"/>
                      </a:cubicBezTo>
                      <a:lnTo>
                        <a:pt x="7796" y="1047"/>
                      </a:ln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grpSp>
          <p:grpSp>
            <p:nvGrpSpPr>
              <p:cNvPr id="40" name="Group 7">
                <a:extLst>
                  <a:ext uri="{FF2B5EF4-FFF2-40B4-BE49-F238E27FC236}">
                    <a16:creationId xmlns:a16="http://schemas.microsoft.com/office/drawing/2014/main" id="{A362AFA1-FBC9-3673-BE33-724EF3A5166C}"/>
                  </a:ext>
                </a:extLst>
              </p:cNvPr>
              <p:cNvGrpSpPr/>
              <p:nvPr/>
            </p:nvGrpSpPr>
            <p:grpSpPr>
              <a:xfrm>
                <a:off x="798570" y="3756404"/>
                <a:ext cx="439376" cy="440155"/>
                <a:chOff x="798570" y="3756404"/>
                <a:chExt cx="439376" cy="440155"/>
              </a:xfrm>
              <a:grpFill/>
            </p:grpSpPr>
            <p:sp>
              <p:nvSpPr>
                <p:cNvPr id="41" name="Freihandform: Form 170">
                  <a:extLst>
                    <a:ext uri="{FF2B5EF4-FFF2-40B4-BE49-F238E27FC236}">
                      <a16:creationId xmlns:a16="http://schemas.microsoft.com/office/drawing/2014/main" id="{A07F63B9-B00A-DC0B-9539-4524AC32F6EB}"/>
                    </a:ext>
                  </a:extLst>
                </p:cNvPr>
                <p:cNvSpPr/>
                <p:nvPr/>
              </p:nvSpPr>
              <p:spPr>
                <a:xfrm>
                  <a:off x="1013441" y="3766020"/>
                  <a:ext cx="9582" cy="86272"/>
                </a:xfrm>
                <a:custGeom>
                  <a:avLst/>
                  <a:gdLst>
                    <a:gd name="connsiteX0" fmla="*/ 4792 w 9582"/>
                    <a:gd name="connsiteY0" fmla="*/ 0 h 86272"/>
                    <a:gd name="connsiteX1" fmla="*/ 0 w 9582"/>
                    <a:gd name="connsiteY1" fmla="*/ 4791 h 86272"/>
                    <a:gd name="connsiteX2" fmla="*/ 0 w 9582"/>
                    <a:gd name="connsiteY2" fmla="*/ 81481 h 86272"/>
                    <a:gd name="connsiteX3" fmla="*/ 4792 w 9582"/>
                    <a:gd name="connsiteY3" fmla="*/ 86273 h 86272"/>
                    <a:gd name="connsiteX4" fmla="*/ 9583 w 9582"/>
                    <a:gd name="connsiteY4" fmla="*/ 81481 h 86272"/>
                    <a:gd name="connsiteX5" fmla="*/ 9583 w 9582"/>
                    <a:gd name="connsiteY5" fmla="*/ 4791 h 86272"/>
                    <a:gd name="connsiteX6" fmla="*/ 4792 w 9582"/>
                    <a:gd name="connsiteY6" fmla="*/ 0 h 86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82" h="86272">
                      <a:moveTo>
                        <a:pt x="4792" y="0"/>
                      </a:moveTo>
                      <a:cubicBezTo>
                        <a:pt x="2138" y="0"/>
                        <a:pt x="0" y="2138"/>
                        <a:pt x="0" y="4791"/>
                      </a:cubicBezTo>
                      <a:lnTo>
                        <a:pt x="0" y="81481"/>
                      </a:lnTo>
                      <a:cubicBezTo>
                        <a:pt x="0" y="84135"/>
                        <a:pt x="2138" y="86273"/>
                        <a:pt x="4792" y="86273"/>
                      </a:cubicBezTo>
                      <a:cubicBezTo>
                        <a:pt x="7445" y="86273"/>
                        <a:pt x="9583" y="84135"/>
                        <a:pt x="9583" y="81481"/>
                      </a:cubicBezTo>
                      <a:lnTo>
                        <a:pt x="9583" y="4791"/>
                      </a:lnTo>
                      <a:cubicBezTo>
                        <a:pt x="9583" y="2138"/>
                        <a:pt x="7445" y="0"/>
                        <a:pt x="4792" y="0"/>
                      </a:cubicBez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42" name="Freihandform: Form 171">
                  <a:extLst>
                    <a:ext uri="{FF2B5EF4-FFF2-40B4-BE49-F238E27FC236}">
                      <a16:creationId xmlns:a16="http://schemas.microsoft.com/office/drawing/2014/main" id="{54202AD7-1BC5-C984-FB2D-A66376402209}"/>
                    </a:ext>
                  </a:extLst>
                </p:cNvPr>
                <p:cNvSpPr/>
                <p:nvPr/>
              </p:nvSpPr>
              <p:spPr>
                <a:xfrm>
                  <a:off x="1013441" y="4102585"/>
                  <a:ext cx="9582" cy="86272"/>
                </a:xfrm>
                <a:custGeom>
                  <a:avLst/>
                  <a:gdLst>
                    <a:gd name="connsiteX0" fmla="*/ 4792 w 9582"/>
                    <a:gd name="connsiteY0" fmla="*/ 0 h 86272"/>
                    <a:gd name="connsiteX1" fmla="*/ 0 w 9582"/>
                    <a:gd name="connsiteY1" fmla="*/ 4791 h 86272"/>
                    <a:gd name="connsiteX2" fmla="*/ 0 w 9582"/>
                    <a:gd name="connsiteY2" fmla="*/ 81481 h 86272"/>
                    <a:gd name="connsiteX3" fmla="*/ 4792 w 9582"/>
                    <a:gd name="connsiteY3" fmla="*/ 86273 h 86272"/>
                    <a:gd name="connsiteX4" fmla="*/ 9583 w 9582"/>
                    <a:gd name="connsiteY4" fmla="*/ 81481 h 86272"/>
                    <a:gd name="connsiteX5" fmla="*/ 9583 w 9582"/>
                    <a:gd name="connsiteY5" fmla="*/ 4791 h 86272"/>
                    <a:gd name="connsiteX6" fmla="*/ 4792 w 9582"/>
                    <a:gd name="connsiteY6" fmla="*/ 0 h 86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82" h="86272">
                      <a:moveTo>
                        <a:pt x="4792" y="0"/>
                      </a:moveTo>
                      <a:cubicBezTo>
                        <a:pt x="2138" y="0"/>
                        <a:pt x="0" y="2138"/>
                        <a:pt x="0" y="4791"/>
                      </a:cubicBezTo>
                      <a:lnTo>
                        <a:pt x="0" y="81481"/>
                      </a:lnTo>
                      <a:cubicBezTo>
                        <a:pt x="0" y="84135"/>
                        <a:pt x="2138" y="86273"/>
                        <a:pt x="4792" y="86273"/>
                      </a:cubicBezTo>
                      <a:cubicBezTo>
                        <a:pt x="7445" y="86273"/>
                        <a:pt x="9583" y="84135"/>
                        <a:pt x="9583" y="81481"/>
                      </a:cubicBezTo>
                      <a:lnTo>
                        <a:pt x="9583" y="4791"/>
                      </a:lnTo>
                      <a:cubicBezTo>
                        <a:pt x="9583" y="2164"/>
                        <a:pt x="7445" y="0"/>
                        <a:pt x="4792" y="0"/>
                      </a:cubicBez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43" name="Freihandform: Form 172">
                  <a:extLst>
                    <a:ext uri="{FF2B5EF4-FFF2-40B4-BE49-F238E27FC236}">
                      <a16:creationId xmlns:a16="http://schemas.microsoft.com/office/drawing/2014/main" id="{3E7412FE-EA25-310B-87AB-375C36D2CFED}"/>
                    </a:ext>
                  </a:extLst>
                </p:cNvPr>
                <p:cNvSpPr/>
                <p:nvPr/>
              </p:nvSpPr>
              <p:spPr>
                <a:xfrm>
                  <a:off x="807870" y="3970509"/>
                  <a:ext cx="85732" cy="9583"/>
                </a:xfrm>
                <a:custGeom>
                  <a:avLst/>
                  <a:gdLst>
                    <a:gd name="connsiteX0" fmla="*/ 80966 w 85732"/>
                    <a:gd name="connsiteY0" fmla="*/ 0 h 9583"/>
                    <a:gd name="connsiteX1" fmla="*/ 4792 w 85732"/>
                    <a:gd name="connsiteY1" fmla="*/ 0 h 9583"/>
                    <a:gd name="connsiteX2" fmla="*/ 0 w 85732"/>
                    <a:gd name="connsiteY2" fmla="*/ 4792 h 9583"/>
                    <a:gd name="connsiteX3" fmla="*/ 4792 w 85732"/>
                    <a:gd name="connsiteY3" fmla="*/ 9583 h 9583"/>
                    <a:gd name="connsiteX4" fmla="*/ 80940 w 85732"/>
                    <a:gd name="connsiteY4" fmla="*/ 9583 h 9583"/>
                    <a:gd name="connsiteX5" fmla="*/ 85732 w 85732"/>
                    <a:gd name="connsiteY5" fmla="*/ 4792 h 9583"/>
                    <a:gd name="connsiteX6" fmla="*/ 80966 w 85732"/>
                    <a:gd name="connsiteY6" fmla="*/ 0 h 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732" h="9583">
                      <a:moveTo>
                        <a:pt x="80966" y="0"/>
                      </a:moveTo>
                      <a:lnTo>
                        <a:pt x="4792" y="0"/>
                      </a:lnTo>
                      <a:cubicBezTo>
                        <a:pt x="2138" y="0"/>
                        <a:pt x="0" y="2138"/>
                        <a:pt x="0" y="4792"/>
                      </a:cubicBezTo>
                      <a:cubicBezTo>
                        <a:pt x="0" y="7445"/>
                        <a:pt x="2138" y="9583"/>
                        <a:pt x="4792" y="9583"/>
                      </a:cubicBezTo>
                      <a:lnTo>
                        <a:pt x="80940" y="9583"/>
                      </a:lnTo>
                      <a:cubicBezTo>
                        <a:pt x="83594" y="9583"/>
                        <a:pt x="85732" y="7445"/>
                        <a:pt x="85732" y="4792"/>
                      </a:cubicBezTo>
                      <a:cubicBezTo>
                        <a:pt x="85758" y="2164"/>
                        <a:pt x="83594" y="0"/>
                        <a:pt x="80966" y="0"/>
                      </a:cubicBez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44" name="Freihandform: Form 173">
                  <a:extLst>
                    <a:ext uri="{FF2B5EF4-FFF2-40B4-BE49-F238E27FC236}">
                      <a16:creationId xmlns:a16="http://schemas.microsoft.com/office/drawing/2014/main" id="{1DEA240A-4E5F-1CCD-C5DB-FC6CF7746426}"/>
                    </a:ext>
                  </a:extLst>
                </p:cNvPr>
                <p:cNvSpPr/>
                <p:nvPr/>
              </p:nvSpPr>
              <p:spPr>
                <a:xfrm>
                  <a:off x="1144460" y="3970509"/>
                  <a:ext cx="85731" cy="9583"/>
                </a:xfrm>
                <a:custGeom>
                  <a:avLst/>
                  <a:gdLst>
                    <a:gd name="connsiteX0" fmla="*/ 80940 w 85731"/>
                    <a:gd name="connsiteY0" fmla="*/ 0 h 9583"/>
                    <a:gd name="connsiteX1" fmla="*/ 4791 w 85731"/>
                    <a:gd name="connsiteY1" fmla="*/ 0 h 9583"/>
                    <a:gd name="connsiteX2" fmla="*/ 0 w 85731"/>
                    <a:gd name="connsiteY2" fmla="*/ 4792 h 9583"/>
                    <a:gd name="connsiteX3" fmla="*/ 4791 w 85731"/>
                    <a:gd name="connsiteY3" fmla="*/ 9583 h 9583"/>
                    <a:gd name="connsiteX4" fmla="*/ 80940 w 85731"/>
                    <a:gd name="connsiteY4" fmla="*/ 9583 h 9583"/>
                    <a:gd name="connsiteX5" fmla="*/ 85732 w 85731"/>
                    <a:gd name="connsiteY5" fmla="*/ 4792 h 9583"/>
                    <a:gd name="connsiteX6" fmla="*/ 80940 w 85731"/>
                    <a:gd name="connsiteY6" fmla="*/ 0 h 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731" h="9583">
                      <a:moveTo>
                        <a:pt x="80940" y="0"/>
                      </a:moveTo>
                      <a:lnTo>
                        <a:pt x="4791" y="0"/>
                      </a:lnTo>
                      <a:cubicBezTo>
                        <a:pt x="2138" y="0"/>
                        <a:pt x="0" y="2138"/>
                        <a:pt x="0" y="4792"/>
                      </a:cubicBezTo>
                      <a:cubicBezTo>
                        <a:pt x="0" y="7445"/>
                        <a:pt x="2138" y="9583"/>
                        <a:pt x="4791" y="9583"/>
                      </a:cubicBezTo>
                      <a:lnTo>
                        <a:pt x="80940" y="9583"/>
                      </a:lnTo>
                      <a:cubicBezTo>
                        <a:pt x="83594" y="9583"/>
                        <a:pt x="85732" y="7445"/>
                        <a:pt x="85732" y="4792"/>
                      </a:cubicBezTo>
                      <a:cubicBezTo>
                        <a:pt x="85732" y="2164"/>
                        <a:pt x="83594" y="0"/>
                        <a:pt x="80940" y="0"/>
                      </a:cubicBez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45" name="Freihandform: Form 174">
                  <a:extLst>
                    <a:ext uri="{FF2B5EF4-FFF2-40B4-BE49-F238E27FC236}">
                      <a16:creationId xmlns:a16="http://schemas.microsoft.com/office/drawing/2014/main" id="{9B6E40C0-F3AA-1FB2-8C4C-1067F90ECA5A}"/>
                    </a:ext>
                  </a:extLst>
                </p:cNvPr>
                <p:cNvSpPr/>
                <p:nvPr/>
              </p:nvSpPr>
              <p:spPr>
                <a:xfrm>
                  <a:off x="994799" y="3756404"/>
                  <a:ext cx="46297" cy="44753"/>
                </a:xfrm>
                <a:custGeom>
                  <a:avLst/>
                  <a:gdLst>
                    <a:gd name="connsiteX0" fmla="*/ 27065 w 46297"/>
                    <a:gd name="connsiteY0" fmla="*/ 2429 h 44753"/>
                    <a:gd name="connsiteX1" fmla="*/ 22789 w 46297"/>
                    <a:gd name="connsiteY1" fmla="*/ 7 h 44753"/>
                    <a:gd name="connsiteX2" fmla="*/ 18642 w 46297"/>
                    <a:gd name="connsiteY2" fmla="*/ 2609 h 44753"/>
                    <a:gd name="connsiteX3" fmla="*/ 532 w 46297"/>
                    <a:gd name="connsiteY3" fmla="*/ 37747 h 44753"/>
                    <a:gd name="connsiteX4" fmla="*/ 2593 w 46297"/>
                    <a:gd name="connsiteY4" fmla="*/ 44213 h 44753"/>
                    <a:gd name="connsiteX5" fmla="*/ 4782 w 46297"/>
                    <a:gd name="connsiteY5" fmla="*/ 44754 h 44753"/>
                    <a:gd name="connsiteX6" fmla="*/ 9033 w 46297"/>
                    <a:gd name="connsiteY6" fmla="*/ 42152 h 44753"/>
                    <a:gd name="connsiteX7" fmla="*/ 23098 w 46297"/>
                    <a:gd name="connsiteY7" fmla="*/ 14820 h 44753"/>
                    <a:gd name="connsiteX8" fmla="*/ 37344 w 46297"/>
                    <a:gd name="connsiteY8" fmla="*/ 39653 h 44753"/>
                    <a:gd name="connsiteX9" fmla="*/ 43887 w 46297"/>
                    <a:gd name="connsiteY9" fmla="*/ 41430 h 44753"/>
                    <a:gd name="connsiteX10" fmla="*/ 45665 w 46297"/>
                    <a:gd name="connsiteY10" fmla="*/ 34887 h 44753"/>
                    <a:gd name="connsiteX11" fmla="*/ 27065 w 46297"/>
                    <a:gd name="connsiteY11" fmla="*/ 2429 h 44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297" h="44753">
                      <a:moveTo>
                        <a:pt x="27065" y="2429"/>
                      </a:moveTo>
                      <a:cubicBezTo>
                        <a:pt x="26190" y="909"/>
                        <a:pt x="24567" y="-96"/>
                        <a:pt x="22789" y="7"/>
                      </a:cubicBezTo>
                      <a:cubicBezTo>
                        <a:pt x="21037" y="59"/>
                        <a:pt x="19440" y="1038"/>
                        <a:pt x="18642" y="2609"/>
                      </a:cubicBezTo>
                      <a:lnTo>
                        <a:pt x="532" y="37747"/>
                      </a:lnTo>
                      <a:cubicBezTo>
                        <a:pt x="-679" y="40091"/>
                        <a:pt x="249" y="42976"/>
                        <a:pt x="2593" y="44213"/>
                      </a:cubicBezTo>
                      <a:cubicBezTo>
                        <a:pt x="3288" y="44573"/>
                        <a:pt x="4035" y="44754"/>
                        <a:pt x="4782" y="44754"/>
                      </a:cubicBezTo>
                      <a:cubicBezTo>
                        <a:pt x="6508" y="44754"/>
                        <a:pt x="8209" y="43801"/>
                        <a:pt x="9033" y="42152"/>
                      </a:cubicBezTo>
                      <a:lnTo>
                        <a:pt x="23098" y="14820"/>
                      </a:lnTo>
                      <a:lnTo>
                        <a:pt x="37344" y="39653"/>
                      </a:lnTo>
                      <a:cubicBezTo>
                        <a:pt x="38658" y="41946"/>
                        <a:pt x="41595" y="42744"/>
                        <a:pt x="43887" y="41430"/>
                      </a:cubicBezTo>
                      <a:cubicBezTo>
                        <a:pt x="46180" y="40117"/>
                        <a:pt x="46979" y="37180"/>
                        <a:pt x="45665" y="34887"/>
                      </a:cubicBezTo>
                      <a:lnTo>
                        <a:pt x="27065" y="2429"/>
                      </a:ln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46" name="Freihandform: Form 175">
                  <a:extLst>
                    <a:ext uri="{FF2B5EF4-FFF2-40B4-BE49-F238E27FC236}">
                      <a16:creationId xmlns:a16="http://schemas.microsoft.com/office/drawing/2014/main" id="{64B0E0E5-C924-1363-F48F-2FEA7C339D71}"/>
                    </a:ext>
                  </a:extLst>
                </p:cNvPr>
                <p:cNvSpPr/>
                <p:nvPr/>
              </p:nvSpPr>
              <p:spPr>
                <a:xfrm>
                  <a:off x="838869" y="3818623"/>
                  <a:ext cx="46366" cy="46267"/>
                </a:xfrm>
                <a:custGeom>
                  <a:avLst/>
                  <a:gdLst>
                    <a:gd name="connsiteX0" fmla="*/ 42470 w 46366"/>
                    <a:gd name="connsiteY0" fmla="*/ 7214 h 46267"/>
                    <a:gd name="connsiteX1" fmla="*/ 5710 w 46366"/>
                    <a:gd name="connsiteY1" fmla="*/ 78 h 46267"/>
                    <a:gd name="connsiteX2" fmla="*/ 1098 w 46366"/>
                    <a:gd name="connsiteY2" fmla="*/ 1727 h 46267"/>
                    <a:gd name="connsiteX3" fmla="*/ 351 w 46366"/>
                    <a:gd name="connsiteY3" fmla="*/ 6570 h 46267"/>
                    <a:gd name="connsiteX4" fmla="*/ 15112 w 46366"/>
                    <a:gd name="connsiteY4" fmla="*/ 43253 h 46267"/>
                    <a:gd name="connsiteX5" fmla="*/ 19569 w 46366"/>
                    <a:gd name="connsiteY5" fmla="*/ 46267 h 46267"/>
                    <a:gd name="connsiteX6" fmla="*/ 21372 w 46366"/>
                    <a:gd name="connsiteY6" fmla="*/ 45907 h 46267"/>
                    <a:gd name="connsiteX7" fmla="*/ 24025 w 46366"/>
                    <a:gd name="connsiteY7" fmla="*/ 39673 h 46267"/>
                    <a:gd name="connsiteX8" fmla="*/ 12536 w 46366"/>
                    <a:gd name="connsiteY8" fmla="*/ 11155 h 46267"/>
                    <a:gd name="connsiteX9" fmla="*/ 40667 w 46366"/>
                    <a:gd name="connsiteY9" fmla="*/ 16591 h 46267"/>
                    <a:gd name="connsiteX10" fmla="*/ 46283 w 46366"/>
                    <a:gd name="connsiteY10" fmla="*/ 12804 h 46267"/>
                    <a:gd name="connsiteX11" fmla="*/ 42470 w 46366"/>
                    <a:gd name="connsiteY11" fmla="*/ 7214 h 4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66" h="46267">
                      <a:moveTo>
                        <a:pt x="42470" y="7214"/>
                      </a:moveTo>
                      <a:lnTo>
                        <a:pt x="5710" y="78"/>
                      </a:lnTo>
                      <a:cubicBezTo>
                        <a:pt x="3984" y="-231"/>
                        <a:pt x="2232" y="387"/>
                        <a:pt x="1098" y="1727"/>
                      </a:cubicBezTo>
                      <a:cubicBezTo>
                        <a:pt x="-9" y="3092"/>
                        <a:pt x="-318" y="4947"/>
                        <a:pt x="351" y="6570"/>
                      </a:cubicBezTo>
                      <a:lnTo>
                        <a:pt x="15112" y="43253"/>
                      </a:lnTo>
                      <a:cubicBezTo>
                        <a:pt x="15859" y="45108"/>
                        <a:pt x="17663" y="46267"/>
                        <a:pt x="19569" y="46267"/>
                      </a:cubicBezTo>
                      <a:cubicBezTo>
                        <a:pt x="20161" y="46267"/>
                        <a:pt x="20780" y="46164"/>
                        <a:pt x="21372" y="45907"/>
                      </a:cubicBezTo>
                      <a:cubicBezTo>
                        <a:pt x="23819" y="44928"/>
                        <a:pt x="25004" y="42120"/>
                        <a:pt x="24025" y="39673"/>
                      </a:cubicBezTo>
                      <a:lnTo>
                        <a:pt x="12536" y="11155"/>
                      </a:lnTo>
                      <a:lnTo>
                        <a:pt x="40667" y="16591"/>
                      </a:lnTo>
                      <a:cubicBezTo>
                        <a:pt x="43243" y="17106"/>
                        <a:pt x="45768" y="15380"/>
                        <a:pt x="46283" y="12804"/>
                      </a:cubicBezTo>
                      <a:cubicBezTo>
                        <a:pt x="46772" y="10228"/>
                        <a:pt x="45072" y="7729"/>
                        <a:pt x="42470" y="7214"/>
                      </a:cubicBez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47" name="Freihandform: Form 176">
                  <a:extLst>
                    <a:ext uri="{FF2B5EF4-FFF2-40B4-BE49-F238E27FC236}">
                      <a16:creationId xmlns:a16="http://schemas.microsoft.com/office/drawing/2014/main" id="{232372A1-899C-6DFB-BADA-94ACD24FE37D}"/>
                    </a:ext>
                  </a:extLst>
                </p:cNvPr>
                <p:cNvSpPr/>
                <p:nvPr/>
              </p:nvSpPr>
              <p:spPr>
                <a:xfrm>
                  <a:off x="1141814" y="3821057"/>
                  <a:ext cx="48169" cy="44734"/>
                </a:xfrm>
                <a:custGeom>
                  <a:avLst/>
                  <a:gdLst>
                    <a:gd name="connsiteX0" fmla="*/ 42292 w 48169"/>
                    <a:gd name="connsiteY0" fmla="*/ 117 h 44734"/>
                    <a:gd name="connsiteX1" fmla="*/ 3729 w 48169"/>
                    <a:gd name="connsiteY1" fmla="*/ 8875 h 44734"/>
                    <a:gd name="connsiteX2" fmla="*/ 122 w 48169"/>
                    <a:gd name="connsiteY2" fmla="*/ 14620 h 44734"/>
                    <a:gd name="connsiteX3" fmla="*/ 5867 w 48169"/>
                    <a:gd name="connsiteY3" fmla="*/ 18227 h 44734"/>
                    <a:gd name="connsiteX4" fmla="*/ 35826 w 48169"/>
                    <a:gd name="connsiteY4" fmla="*/ 11400 h 44734"/>
                    <a:gd name="connsiteX5" fmla="*/ 25986 w 48169"/>
                    <a:gd name="connsiteY5" fmla="*/ 38294 h 44734"/>
                    <a:gd name="connsiteX6" fmla="*/ 28845 w 48169"/>
                    <a:gd name="connsiteY6" fmla="*/ 44451 h 44734"/>
                    <a:gd name="connsiteX7" fmla="*/ 30494 w 48169"/>
                    <a:gd name="connsiteY7" fmla="*/ 44734 h 44734"/>
                    <a:gd name="connsiteX8" fmla="*/ 35002 w 48169"/>
                    <a:gd name="connsiteY8" fmla="*/ 41592 h 44734"/>
                    <a:gd name="connsiteX9" fmla="*/ 47883 w 48169"/>
                    <a:gd name="connsiteY9" fmla="*/ 6428 h 44734"/>
                    <a:gd name="connsiteX10" fmla="*/ 46981 w 48169"/>
                    <a:gd name="connsiteY10" fmla="*/ 1611 h 44734"/>
                    <a:gd name="connsiteX11" fmla="*/ 42292 w 48169"/>
                    <a:gd name="connsiteY11" fmla="*/ 117 h 4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169" h="44734">
                      <a:moveTo>
                        <a:pt x="42292" y="117"/>
                      </a:moveTo>
                      <a:lnTo>
                        <a:pt x="3729" y="8875"/>
                      </a:lnTo>
                      <a:cubicBezTo>
                        <a:pt x="1152" y="9468"/>
                        <a:pt x="-470" y="12044"/>
                        <a:pt x="122" y="14620"/>
                      </a:cubicBezTo>
                      <a:cubicBezTo>
                        <a:pt x="715" y="17196"/>
                        <a:pt x="3265" y="18819"/>
                        <a:pt x="5867" y="18227"/>
                      </a:cubicBezTo>
                      <a:lnTo>
                        <a:pt x="35826" y="11400"/>
                      </a:lnTo>
                      <a:lnTo>
                        <a:pt x="25986" y="38294"/>
                      </a:lnTo>
                      <a:cubicBezTo>
                        <a:pt x="25084" y="40767"/>
                        <a:pt x="26347" y="43524"/>
                        <a:pt x="28845" y="44451"/>
                      </a:cubicBezTo>
                      <a:cubicBezTo>
                        <a:pt x="29386" y="44657"/>
                        <a:pt x="29953" y="44734"/>
                        <a:pt x="30494" y="44734"/>
                      </a:cubicBezTo>
                      <a:cubicBezTo>
                        <a:pt x="32452" y="44734"/>
                        <a:pt x="34281" y="43524"/>
                        <a:pt x="35002" y="41592"/>
                      </a:cubicBezTo>
                      <a:lnTo>
                        <a:pt x="47883" y="6428"/>
                      </a:lnTo>
                      <a:cubicBezTo>
                        <a:pt x="48475" y="4779"/>
                        <a:pt x="48140" y="2925"/>
                        <a:pt x="46981" y="1611"/>
                      </a:cubicBezTo>
                      <a:cubicBezTo>
                        <a:pt x="45796" y="323"/>
                        <a:pt x="44018" y="-270"/>
                        <a:pt x="42292" y="117"/>
                      </a:cubicBez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48" name="Freihandform: Form 177">
                  <a:extLst>
                    <a:ext uri="{FF2B5EF4-FFF2-40B4-BE49-F238E27FC236}">
                      <a16:creationId xmlns:a16="http://schemas.microsoft.com/office/drawing/2014/main" id="{10644D35-31B1-C94A-DE00-B0B90973D079}"/>
                    </a:ext>
                  </a:extLst>
                </p:cNvPr>
                <p:cNvSpPr/>
                <p:nvPr/>
              </p:nvSpPr>
              <p:spPr>
                <a:xfrm>
                  <a:off x="1146651" y="4089147"/>
                  <a:ext cx="46287" cy="46437"/>
                </a:xfrm>
                <a:custGeom>
                  <a:avLst/>
                  <a:gdLst>
                    <a:gd name="connsiteX0" fmla="*/ 31633 w 46287"/>
                    <a:gd name="connsiteY0" fmla="*/ 3056 h 46437"/>
                    <a:gd name="connsiteX1" fmla="*/ 25424 w 46287"/>
                    <a:gd name="connsiteY1" fmla="*/ 325 h 46437"/>
                    <a:gd name="connsiteX2" fmla="*/ 22694 w 46287"/>
                    <a:gd name="connsiteY2" fmla="*/ 6534 h 46437"/>
                    <a:gd name="connsiteX3" fmla="*/ 33822 w 46287"/>
                    <a:gd name="connsiteY3" fmla="*/ 35180 h 46437"/>
                    <a:gd name="connsiteX4" fmla="*/ 5769 w 46287"/>
                    <a:gd name="connsiteY4" fmla="*/ 29358 h 46437"/>
                    <a:gd name="connsiteX5" fmla="*/ 102 w 46287"/>
                    <a:gd name="connsiteY5" fmla="*/ 33067 h 46437"/>
                    <a:gd name="connsiteX6" fmla="*/ 3837 w 46287"/>
                    <a:gd name="connsiteY6" fmla="*/ 38735 h 46437"/>
                    <a:gd name="connsiteX7" fmla="*/ 40520 w 46287"/>
                    <a:gd name="connsiteY7" fmla="*/ 46334 h 46437"/>
                    <a:gd name="connsiteX8" fmla="*/ 41499 w 46287"/>
                    <a:gd name="connsiteY8" fmla="*/ 46437 h 46437"/>
                    <a:gd name="connsiteX9" fmla="*/ 45157 w 46287"/>
                    <a:gd name="connsiteY9" fmla="*/ 44737 h 46437"/>
                    <a:gd name="connsiteX10" fmla="*/ 45956 w 46287"/>
                    <a:gd name="connsiteY10" fmla="*/ 39894 h 46437"/>
                    <a:gd name="connsiteX11" fmla="*/ 31633 w 46287"/>
                    <a:gd name="connsiteY11" fmla="*/ 3056 h 46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287" h="46437">
                      <a:moveTo>
                        <a:pt x="31633" y="3056"/>
                      </a:moveTo>
                      <a:cubicBezTo>
                        <a:pt x="30680" y="583"/>
                        <a:pt x="27897" y="-628"/>
                        <a:pt x="25424" y="325"/>
                      </a:cubicBezTo>
                      <a:cubicBezTo>
                        <a:pt x="22951" y="1278"/>
                        <a:pt x="21741" y="4060"/>
                        <a:pt x="22694" y="6534"/>
                      </a:cubicBezTo>
                      <a:lnTo>
                        <a:pt x="33822" y="35180"/>
                      </a:lnTo>
                      <a:lnTo>
                        <a:pt x="5769" y="29358"/>
                      </a:lnTo>
                      <a:cubicBezTo>
                        <a:pt x="3193" y="28791"/>
                        <a:pt x="643" y="30465"/>
                        <a:pt x="102" y="33067"/>
                      </a:cubicBezTo>
                      <a:cubicBezTo>
                        <a:pt x="-439" y="35669"/>
                        <a:pt x="1235" y="38193"/>
                        <a:pt x="3837" y="38735"/>
                      </a:cubicBezTo>
                      <a:lnTo>
                        <a:pt x="40520" y="46334"/>
                      </a:lnTo>
                      <a:cubicBezTo>
                        <a:pt x="40829" y="46411"/>
                        <a:pt x="41164" y="46437"/>
                        <a:pt x="41499" y="46437"/>
                      </a:cubicBezTo>
                      <a:cubicBezTo>
                        <a:pt x="42890" y="46437"/>
                        <a:pt x="44230" y="45819"/>
                        <a:pt x="45157" y="44737"/>
                      </a:cubicBezTo>
                      <a:cubicBezTo>
                        <a:pt x="46291" y="43397"/>
                        <a:pt x="46600" y="41542"/>
                        <a:pt x="45956" y="39894"/>
                      </a:cubicBezTo>
                      <a:lnTo>
                        <a:pt x="31633" y="3056"/>
                      </a:ln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49" name="Freihandform: Form 178">
                  <a:extLst>
                    <a:ext uri="{FF2B5EF4-FFF2-40B4-BE49-F238E27FC236}">
                      <a16:creationId xmlns:a16="http://schemas.microsoft.com/office/drawing/2014/main" id="{A9C63AB7-65D0-B8DB-F826-4FF284875BEA}"/>
                    </a:ext>
                  </a:extLst>
                </p:cNvPr>
                <p:cNvSpPr/>
                <p:nvPr/>
              </p:nvSpPr>
              <p:spPr>
                <a:xfrm>
                  <a:off x="994390" y="4151690"/>
                  <a:ext cx="46316" cy="44869"/>
                </a:xfrm>
                <a:custGeom>
                  <a:avLst/>
                  <a:gdLst>
                    <a:gd name="connsiteX0" fmla="*/ 43678 w 46316"/>
                    <a:gd name="connsiteY0" fmla="*/ 510 h 44869"/>
                    <a:gd name="connsiteX1" fmla="*/ 37238 w 46316"/>
                    <a:gd name="connsiteY1" fmla="*/ 2622 h 44869"/>
                    <a:gd name="connsiteX2" fmla="*/ 23404 w 46316"/>
                    <a:gd name="connsiteY2" fmla="*/ 30057 h 44869"/>
                    <a:gd name="connsiteX3" fmla="*/ 8952 w 46316"/>
                    <a:gd name="connsiteY3" fmla="*/ 5327 h 44869"/>
                    <a:gd name="connsiteX4" fmla="*/ 2383 w 46316"/>
                    <a:gd name="connsiteY4" fmla="*/ 3601 h 44869"/>
                    <a:gd name="connsiteX5" fmla="*/ 657 w 46316"/>
                    <a:gd name="connsiteY5" fmla="*/ 10170 h 44869"/>
                    <a:gd name="connsiteX6" fmla="*/ 19566 w 46316"/>
                    <a:gd name="connsiteY6" fmla="*/ 42500 h 44869"/>
                    <a:gd name="connsiteX7" fmla="*/ 23713 w 46316"/>
                    <a:gd name="connsiteY7" fmla="*/ 44870 h 44869"/>
                    <a:gd name="connsiteX8" fmla="*/ 23868 w 46316"/>
                    <a:gd name="connsiteY8" fmla="*/ 44870 h 44869"/>
                    <a:gd name="connsiteX9" fmla="*/ 27990 w 46316"/>
                    <a:gd name="connsiteY9" fmla="*/ 42242 h 44869"/>
                    <a:gd name="connsiteX10" fmla="*/ 45790 w 46316"/>
                    <a:gd name="connsiteY10" fmla="*/ 6924 h 44869"/>
                    <a:gd name="connsiteX11" fmla="*/ 43678 w 46316"/>
                    <a:gd name="connsiteY11" fmla="*/ 510 h 44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16" h="44869">
                      <a:moveTo>
                        <a:pt x="43678" y="510"/>
                      </a:moveTo>
                      <a:cubicBezTo>
                        <a:pt x="41308" y="-675"/>
                        <a:pt x="38423" y="278"/>
                        <a:pt x="37238" y="2622"/>
                      </a:cubicBezTo>
                      <a:lnTo>
                        <a:pt x="23404" y="30057"/>
                      </a:lnTo>
                      <a:lnTo>
                        <a:pt x="8952" y="5327"/>
                      </a:lnTo>
                      <a:cubicBezTo>
                        <a:pt x="7613" y="3034"/>
                        <a:pt x="4676" y="2287"/>
                        <a:pt x="2383" y="3601"/>
                      </a:cubicBezTo>
                      <a:cubicBezTo>
                        <a:pt x="91" y="4940"/>
                        <a:pt x="-682" y="7877"/>
                        <a:pt x="657" y="10170"/>
                      </a:cubicBezTo>
                      <a:lnTo>
                        <a:pt x="19566" y="42500"/>
                      </a:lnTo>
                      <a:cubicBezTo>
                        <a:pt x="20416" y="43968"/>
                        <a:pt x="22013" y="44870"/>
                        <a:pt x="23713" y="44870"/>
                      </a:cubicBezTo>
                      <a:cubicBezTo>
                        <a:pt x="23765" y="44870"/>
                        <a:pt x="23816" y="44870"/>
                        <a:pt x="23868" y="44870"/>
                      </a:cubicBezTo>
                      <a:cubicBezTo>
                        <a:pt x="25620" y="44818"/>
                        <a:pt x="27217" y="43814"/>
                        <a:pt x="27990" y="42242"/>
                      </a:cubicBezTo>
                      <a:lnTo>
                        <a:pt x="45790" y="6924"/>
                      </a:lnTo>
                      <a:cubicBezTo>
                        <a:pt x="47001" y="4580"/>
                        <a:pt x="46048" y="1695"/>
                        <a:pt x="43678" y="510"/>
                      </a:cubicBez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50" name="Freihandform: Form 179">
                  <a:extLst>
                    <a:ext uri="{FF2B5EF4-FFF2-40B4-BE49-F238E27FC236}">
                      <a16:creationId xmlns:a16="http://schemas.microsoft.com/office/drawing/2014/main" id="{C7A3D612-3F2D-3062-F03E-92082B40A6B8}"/>
                    </a:ext>
                  </a:extLst>
                </p:cNvPr>
                <p:cNvSpPr/>
                <p:nvPr/>
              </p:nvSpPr>
              <p:spPr>
                <a:xfrm>
                  <a:off x="839318" y="4090925"/>
                  <a:ext cx="48511" cy="44143"/>
                </a:xfrm>
                <a:custGeom>
                  <a:avLst/>
                  <a:gdLst>
                    <a:gd name="connsiteX0" fmla="*/ 42872 w 48511"/>
                    <a:gd name="connsiteY0" fmla="*/ 27631 h 44143"/>
                    <a:gd name="connsiteX1" fmla="*/ 12629 w 48511"/>
                    <a:gd name="connsiteY1" fmla="*/ 33067 h 44143"/>
                    <a:gd name="connsiteX2" fmla="*/ 23680 w 48511"/>
                    <a:gd name="connsiteY2" fmla="*/ 6636 h 44143"/>
                    <a:gd name="connsiteX3" fmla="*/ 21104 w 48511"/>
                    <a:gd name="connsiteY3" fmla="*/ 376 h 44143"/>
                    <a:gd name="connsiteX4" fmla="*/ 14844 w 48511"/>
                    <a:gd name="connsiteY4" fmla="*/ 2952 h 44143"/>
                    <a:gd name="connsiteX5" fmla="*/ 367 w 48511"/>
                    <a:gd name="connsiteY5" fmla="*/ 37498 h 44143"/>
                    <a:gd name="connsiteX6" fmla="*/ 1062 w 48511"/>
                    <a:gd name="connsiteY6" fmla="*/ 42341 h 44143"/>
                    <a:gd name="connsiteX7" fmla="*/ 4797 w 48511"/>
                    <a:gd name="connsiteY7" fmla="*/ 44144 h 44143"/>
                    <a:gd name="connsiteX8" fmla="*/ 5647 w 48511"/>
                    <a:gd name="connsiteY8" fmla="*/ 44067 h 44143"/>
                    <a:gd name="connsiteX9" fmla="*/ 44572 w 48511"/>
                    <a:gd name="connsiteY9" fmla="*/ 37060 h 44143"/>
                    <a:gd name="connsiteX10" fmla="*/ 48436 w 48511"/>
                    <a:gd name="connsiteY10" fmla="*/ 31496 h 44143"/>
                    <a:gd name="connsiteX11" fmla="*/ 42872 w 48511"/>
                    <a:gd name="connsiteY11" fmla="*/ 27631 h 44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11" h="44143">
                      <a:moveTo>
                        <a:pt x="42872" y="27631"/>
                      </a:moveTo>
                      <a:lnTo>
                        <a:pt x="12629" y="33067"/>
                      </a:lnTo>
                      <a:lnTo>
                        <a:pt x="23680" y="6636"/>
                      </a:lnTo>
                      <a:cubicBezTo>
                        <a:pt x="24710" y="4189"/>
                        <a:pt x="23551" y="1381"/>
                        <a:pt x="21104" y="376"/>
                      </a:cubicBezTo>
                      <a:cubicBezTo>
                        <a:pt x="18657" y="-654"/>
                        <a:pt x="15849" y="505"/>
                        <a:pt x="14844" y="2952"/>
                      </a:cubicBezTo>
                      <a:lnTo>
                        <a:pt x="367" y="37498"/>
                      </a:lnTo>
                      <a:cubicBezTo>
                        <a:pt x="-303" y="39121"/>
                        <a:pt x="-46" y="40975"/>
                        <a:pt x="1062" y="42341"/>
                      </a:cubicBezTo>
                      <a:cubicBezTo>
                        <a:pt x="1989" y="43474"/>
                        <a:pt x="3355" y="44144"/>
                        <a:pt x="4797" y="44144"/>
                      </a:cubicBezTo>
                      <a:cubicBezTo>
                        <a:pt x="5081" y="44144"/>
                        <a:pt x="5364" y="44118"/>
                        <a:pt x="5647" y="44067"/>
                      </a:cubicBezTo>
                      <a:lnTo>
                        <a:pt x="44572" y="37060"/>
                      </a:lnTo>
                      <a:cubicBezTo>
                        <a:pt x="47174" y="36596"/>
                        <a:pt x="48900" y="34097"/>
                        <a:pt x="48436" y="31496"/>
                      </a:cubicBezTo>
                      <a:cubicBezTo>
                        <a:pt x="47972" y="28894"/>
                        <a:pt x="45499" y="27168"/>
                        <a:pt x="42872" y="27631"/>
                      </a:cubicBez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51" name="Freihandform: Form 180">
                  <a:extLst>
                    <a:ext uri="{FF2B5EF4-FFF2-40B4-BE49-F238E27FC236}">
                      <a16:creationId xmlns:a16="http://schemas.microsoft.com/office/drawing/2014/main" id="{D981C719-C9E0-E139-4258-CBF5DB4F5292}"/>
                    </a:ext>
                  </a:extLst>
                </p:cNvPr>
                <p:cNvSpPr/>
                <p:nvPr/>
              </p:nvSpPr>
              <p:spPr>
                <a:xfrm>
                  <a:off x="798570" y="3953115"/>
                  <a:ext cx="44197" cy="46400"/>
                </a:xfrm>
                <a:custGeom>
                  <a:avLst/>
                  <a:gdLst>
                    <a:gd name="connsiteX0" fmla="*/ 41707 w 44197"/>
                    <a:gd name="connsiteY0" fmla="*/ 37410 h 46400"/>
                    <a:gd name="connsiteX1" fmla="*/ 14812 w 44197"/>
                    <a:gd name="connsiteY1" fmla="*/ 22546 h 46400"/>
                    <a:gd name="connsiteX2" fmla="*/ 40058 w 44197"/>
                    <a:gd name="connsiteY2" fmla="*/ 9022 h 46400"/>
                    <a:gd name="connsiteX3" fmla="*/ 42016 w 44197"/>
                    <a:gd name="connsiteY3" fmla="*/ 2530 h 46400"/>
                    <a:gd name="connsiteX4" fmla="*/ 35524 w 44197"/>
                    <a:gd name="connsiteY4" fmla="*/ 572 h 46400"/>
                    <a:gd name="connsiteX5" fmla="*/ 2525 w 44197"/>
                    <a:gd name="connsiteY5" fmla="*/ 18270 h 46400"/>
                    <a:gd name="connsiteX6" fmla="*/ 0 w 44197"/>
                    <a:gd name="connsiteY6" fmla="*/ 22469 h 46400"/>
                    <a:gd name="connsiteX7" fmla="*/ 2473 w 44197"/>
                    <a:gd name="connsiteY7" fmla="*/ 26694 h 46400"/>
                    <a:gd name="connsiteX8" fmla="*/ 37096 w 44197"/>
                    <a:gd name="connsiteY8" fmla="*/ 45808 h 46400"/>
                    <a:gd name="connsiteX9" fmla="*/ 39414 w 44197"/>
                    <a:gd name="connsiteY9" fmla="*/ 46401 h 46400"/>
                    <a:gd name="connsiteX10" fmla="*/ 43613 w 44197"/>
                    <a:gd name="connsiteY10" fmla="*/ 43928 h 46400"/>
                    <a:gd name="connsiteX11" fmla="*/ 41707 w 44197"/>
                    <a:gd name="connsiteY11" fmla="*/ 37410 h 4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197" h="46400">
                      <a:moveTo>
                        <a:pt x="41707" y="37410"/>
                      </a:moveTo>
                      <a:lnTo>
                        <a:pt x="14812" y="22546"/>
                      </a:lnTo>
                      <a:lnTo>
                        <a:pt x="40058" y="9022"/>
                      </a:lnTo>
                      <a:cubicBezTo>
                        <a:pt x="42402" y="7785"/>
                        <a:pt x="43278" y="4874"/>
                        <a:pt x="42016" y="2530"/>
                      </a:cubicBezTo>
                      <a:cubicBezTo>
                        <a:pt x="40754" y="212"/>
                        <a:pt x="37868" y="-690"/>
                        <a:pt x="35524" y="572"/>
                      </a:cubicBezTo>
                      <a:lnTo>
                        <a:pt x="2525" y="18270"/>
                      </a:lnTo>
                      <a:cubicBezTo>
                        <a:pt x="979" y="19094"/>
                        <a:pt x="0" y="20717"/>
                        <a:pt x="0" y="22469"/>
                      </a:cubicBezTo>
                      <a:cubicBezTo>
                        <a:pt x="0" y="24221"/>
                        <a:pt x="927" y="25844"/>
                        <a:pt x="2473" y="26694"/>
                      </a:cubicBezTo>
                      <a:lnTo>
                        <a:pt x="37096" y="45808"/>
                      </a:lnTo>
                      <a:cubicBezTo>
                        <a:pt x="37843" y="46220"/>
                        <a:pt x="38615" y="46401"/>
                        <a:pt x="39414" y="46401"/>
                      </a:cubicBezTo>
                      <a:cubicBezTo>
                        <a:pt x="41114" y="46401"/>
                        <a:pt x="42737" y="45499"/>
                        <a:pt x="43613" y="43928"/>
                      </a:cubicBezTo>
                      <a:cubicBezTo>
                        <a:pt x="44875" y="41609"/>
                        <a:pt x="44025" y="38698"/>
                        <a:pt x="41707" y="37410"/>
                      </a:cubicBez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52" name="Freihandform: Form 181">
                  <a:extLst>
                    <a:ext uri="{FF2B5EF4-FFF2-40B4-BE49-F238E27FC236}">
                      <a16:creationId xmlns:a16="http://schemas.microsoft.com/office/drawing/2014/main" id="{D2766B6C-2868-F9ED-6B6D-C79DE8CD8378}"/>
                    </a:ext>
                  </a:extLst>
                </p:cNvPr>
                <p:cNvSpPr/>
                <p:nvPr/>
              </p:nvSpPr>
              <p:spPr>
                <a:xfrm>
                  <a:off x="1193731" y="3952574"/>
                  <a:ext cx="44215" cy="46400"/>
                </a:xfrm>
                <a:custGeom>
                  <a:avLst/>
                  <a:gdLst>
                    <a:gd name="connsiteX0" fmla="*/ 41664 w 44215"/>
                    <a:gd name="connsiteY0" fmla="*/ 18270 h 46400"/>
                    <a:gd name="connsiteX1" fmla="*/ 8665 w 44215"/>
                    <a:gd name="connsiteY1" fmla="*/ 572 h 46400"/>
                    <a:gd name="connsiteX2" fmla="*/ 2173 w 44215"/>
                    <a:gd name="connsiteY2" fmla="*/ 2530 h 46400"/>
                    <a:gd name="connsiteX3" fmla="*/ 4131 w 44215"/>
                    <a:gd name="connsiteY3" fmla="*/ 9022 h 46400"/>
                    <a:gd name="connsiteX4" fmla="*/ 29377 w 44215"/>
                    <a:gd name="connsiteY4" fmla="*/ 22546 h 46400"/>
                    <a:gd name="connsiteX5" fmla="*/ 2482 w 44215"/>
                    <a:gd name="connsiteY5" fmla="*/ 37410 h 46400"/>
                    <a:gd name="connsiteX6" fmla="*/ 602 w 44215"/>
                    <a:gd name="connsiteY6" fmla="*/ 43928 h 46400"/>
                    <a:gd name="connsiteX7" fmla="*/ 4801 w 44215"/>
                    <a:gd name="connsiteY7" fmla="*/ 46401 h 46400"/>
                    <a:gd name="connsiteX8" fmla="*/ 7119 w 44215"/>
                    <a:gd name="connsiteY8" fmla="*/ 45808 h 46400"/>
                    <a:gd name="connsiteX9" fmla="*/ 41742 w 44215"/>
                    <a:gd name="connsiteY9" fmla="*/ 26694 h 46400"/>
                    <a:gd name="connsiteX10" fmla="*/ 44215 w 44215"/>
                    <a:gd name="connsiteY10" fmla="*/ 22469 h 46400"/>
                    <a:gd name="connsiteX11" fmla="*/ 41664 w 44215"/>
                    <a:gd name="connsiteY11" fmla="*/ 18270 h 4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215" h="46400">
                      <a:moveTo>
                        <a:pt x="41664" y="18270"/>
                      </a:moveTo>
                      <a:lnTo>
                        <a:pt x="8665" y="572"/>
                      </a:lnTo>
                      <a:cubicBezTo>
                        <a:pt x="6346" y="-690"/>
                        <a:pt x="3435" y="212"/>
                        <a:pt x="2173" y="2530"/>
                      </a:cubicBezTo>
                      <a:cubicBezTo>
                        <a:pt x="911" y="4875"/>
                        <a:pt x="1812" y="7760"/>
                        <a:pt x="4131" y="9022"/>
                      </a:cubicBezTo>
                      <a:lnTo>
                        <a:pt x="29377" y="22546"/>
                      </a:lnTo>
                      <a:lnTo>
                        <a:pt x="2482" y="37410"/>
                      </a:lnTo>
                      <a:cubicBezTo>
                        <a:pt x="164" y="38698"/>
                        <a:pt x="-686" y="41609"/>
                        <a:pt x="602" y="43928"/>
                      </a:cubicBezTo>
                      <a:cubicBezTo>
                        <a:pt x="1478" y="45525"/>
                        <a:pt x="3100" y="46401"/>
                        <a:pt x="4801" y="46401"/>
                      </a:cubicBezTo>
                      <a:cubicBezTo>
                        <a:pt x="5599" y="46401"/>
                        <a:pt x="6372" y="46221"/>
                        <a:pt x="7119" y="45808"/>
                      </a:cubicBezTo>
                      <a:lnTo>
                        <a:pt x="41742" y="26694"/>
                      </a:lnTo>
                      <a:cubicBezTo>
                        <a:pt x="43287" y="25844"/>
                        <a:pt x="44240" y="24221"/>
                        <a:pt x="44215" y="22469"/>
                      </a:cubicBezTo>
                      <a:cubicBezTo>
                        <a:pt x="44163" y="20717"/>
                        <a:pt x="43210" y="19095"/>
                        <a:pt x="41664" y="18270"/>
                      </a:cubicBez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grpSp>
        </p:grpSp>
        <p:grpSp>
          <p:nvGrpSpPr>
            <p:cNvPr id="22" name="Group 24">
              <a:extLst>
                <a:ext uri="{FF2B5EF4-FFF2-40B4-BE49-F238E27FC236}">
                  <a16:creationId xmlns:a16="http://schemas.microsoft.com/office/drawing/2014/main" id="{B022DBA2-F996-D90D-FA4F-4D8B7D88CF44}"/>
                </a:ext>
              </a:extLst>
            </p:cNvPr>
            <p:cNvGrpSpPr/>
            <p:nvPr/>
          </p:nvGrpSpPr>
          <p:grpSpPr>
            <a:xfrm>
              <a:off x="700548" y="3650151"/>
              <a:ext cx="699918" cy="716401"/>
              <a:chOff x="700548" y="3650151"/>
              <a:chExt cx="699918" cy="716401"/>
            </a:xfrm>
          </p:grpSpPr>
          <p:grpSp>
            <p:nvGrpSpPr>
              <p:cNvPr id="23" name="Group 218">
                <a:extLst>
                  <a:ext uri="{FF2B5EF4-FFF2-40B4-BE49-F238E27FC236}">
                    <a16:creationId xmlns:a16="http://schemas.microsoft.com/office/drawing/2014/main" id="{DD8E92E3-E49B-41CC-5C69-84A34A8451C5}"/>
                  </a:ext>
                </a:extLst>
              </p:cNvPr>
              <p:cNvGrpSpPr/>
              <p:nvPr/>
            </p:nvGrpSpPr>
            <p:grpSpPr>
              <a:xfrm>
                <a:off x="700548" y="3650151"/>
                <a:ext cx="699918" cy="716401"/>
                <a:chOff x="700545" y="3650145"/>
                <a:chExt cx="610298" cy="624672"/>
              </a:xfrm>
              <a:solidFill>
                <a:schemeClr val="bg2"/>
              </a:solidFill>
            </p:grpSpPr>
            <p:sp>
              <p:nvSpPr>
                <p:cNvPr id="29" name="Freihandform: Form 188">
                  <a:extLst>
                    <a:ext uri="{FF2B5EF4-FFF2-40B4-BE49-F238E27FC236}">
                      <a16:creationId xmlns:a16="http://schemas.microsoft.com/office/drawing/2014/main" id="{68E14E14-08D8-3D78-5D5C-CBE7F9401043}"/>
                    </a:ext>
                  </a:extLst>
                </p:cNvPr>
                <p:cNvSpPr/>
                <p:nvPr/>
              </p:nvSpPr>
              <p:spPr>
                <a:xfrm>
                  <a:off x="968946" y="3650145"/>
                  <a:ext cx="75066" cy="75066"/>
                </a:xfrm>
                <a:custGeom>
                  <a:avLst/>
                  <a:gdLst>
                    <a:gd name="connsiteX0" fmla="*/ 37533 w 75066"/>
                    <a:gd name="connsiteY0" fmla="*/ 0 h 75066"/>
                    <a:gd name="connsiteX1" fmla="*/ 0 w 75066"/>
                    <a:gd name="connsiteY1" fmla="*/ 37533 h 75066"/>
                    <a:gd name="connsiteX2" fmla="*/ 37533 w 75066"/>
                    <a:gd name="connsiteY2" fmla="*/ 75067 h 75066"/>
                    <a:gd name="connsiteX3" fmla="*/ 75067 w 75066"/>
                    <a:gd name="connsiteY3" fmla="*/ 37533 h 75066"/>
                    <a:gd name="connsiteX4" fmla="*/ 37533 w 75066"/>
                    <a:gd name="connsiteY4" fmla="*/ 0 h 75066"/>
                    <a:gd name="connsiteX5" fmla="*/ 37533 w 75066"/>
                    <a:gd name="connsiteY5" fmla="*/ 65510 h 75066"/>
                    <a:gd name="connsiteX6" fmla="*/ 9583 w 75066"/>
                    <a:gd name="connsiteY6" fmla="*/ 37559 h 75066"/>
                    <a:gd name="connsiteX7" fmla="*/ 37533 w 75066"/>
                    <a:gd name="connsiteY7" fmla="*/ 9609 h 75066"/>
                    <a:gd name="connsiteX8" fmla="*/ 65484 w 75066"/>
                    <a:gd name="connsiteY8" fmla="*/ 37559 h 75066"/>
                    <a:gd name="connsiteX9" fmla="*/ 37533 w 75066"/>
                    <a:gd name="connsiteY9" fmla="*/ 65510 h 7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066" h="75066">
                      <a:moveTo>
                        <a:pt x="37533" y="0"/>
                      </a:moveTo>
                      <a:cubicBezTo>
                        <a:pt x="16822" y="0"/>
                        <a:pt x="0" y="16847"/>
                        <a:pt x="0" y="37533"/>
                      </a:cubicBezTo>
                      <a:cubicBezTo>
                        <a:pt x="0" y="58245"/>
                        <a:pt x="16848" y="75067"/>
                        <a:pt x="37533" y="75067"/>
                      </a:cubicBezTo>
                      <a:cubicBezTo>
                        <a:pt x="58245" y="75067"/>
                        <a:pt x="75067" y="58219"/>
                        <a:pt x="75067" y="37533"/>
                      </a:cubicBezTo>
                      <a:cubicBezTo>
                        <a:pt x="75093" y="16847"/>
                        <a:pt x="58245" y="0"/>
                        <a:pt x="37533" y="0"/>
                      </a:cubicBezTo>
                      <a:close/>
                      <a:moveTo>
                        <a:pt x="37533" y="65510"/>
                      </a:moveTo>
                      <a:cubicBezTo>
                        <a:pt x="22103" y="65510"/>
                        <a:pt x="9583" y="52964"/>
                        <a:pt x="9583" y="37559"/>
                      </a:cubicBezTo>
                      <a:cubicBezTo>
                        <a:pt x="9583" y="22154"/>
                        <a:pt x="22129" y="9609"/>
                        <a:pt x="37533" y="9609"/>
                      </a:cubicBezTo>
                      <a:cubicBezTo>
                        <a:pt x="52938" y="9609"/>
                        <a:pt x="65484" y="22154"/>
                        <a:pt x="65484" y="37559"/>
                      </a:cubicBezTo>
                      <a:cubicBezTo>
                        <a:pt x="65510" y="52964"/>
                        <a:pt x="52964" y="65510"/>
                        <a:pt x="37533" y="65510"/>
                      </a:cubicBez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30" name="Freihandform: Form 189">
                  <a:extLst>
                    <a:ext uri="{FF2B5EF4-FFF2-40B4-BE49-F238E27FC236}">
                      <a16:creationId xmlns:a16="http://schemas.microsoft.com/office/drawing/2014/main" id="{A17D3817-D3F1-AB05-31BB-CFAAC0D818D4}"/>
                    </a:ext>
                  </a:extLst>
                </p:cNvPr>
                <p:cNvSpPr/>
                <p:nvPr/>
              </p:nvSpPr>
              <p:spPr>
                <a:xfrm>
                  <a:off x="1235777" y="3924961"/>
                  <a:ext cx="75066" cy="75066"/>
                </a:xfrm>
                <a:custGeom>
                  <a:avLst/>
                  <a:gdLst>
                    <a:gd name="connsiteX0" fmla="*/ 37533 w 75066"/>
                    <a:gd name="connsiteY0" fmla="*/ 0 h 75066"/>
                    <a:gd name="connsiteX1" fmla="*/ 0 w 75066"/>
                    <a:gd name="connsiteY1" fmla="*/ 37533 h 75066"/>
                    <a:gd name="connsiteX2" fmla="*/ 37533 w 75066"/>
                    <a:gd name="connsiteY2" fmla="*/ 75067 h 75066"/>
                    <a:gd name="connsiteX3" fmla="*/ 75067 w 75066"/>
                    <a:gd name="connsiteY3" fmla="*/ 37533 h 75066"/>
                    <a:gd name="connsiteX4" fmla="*/ 37533 w 75066"/>
                    <a:gd name="connsiteY4" fmla="*/ 0 h 75066"/>
                    <a:gd name="connsiteX5" fmla="*/ 37533 w 75066"/>
                    <a:gd name="connsiteY5" fmla="*/ 65509 h 75066"/>
                    <a:gd name="connsiteX6" fmla="*/ 9583 w 75066"/>
                    <a:gd name="connsiteY6" fmla="*/ 37559 h 75066"/>
                    <a:gd name="connsiteX7" fmla="*/ 37533 w 75066"/>
                    <a:gd name="connsiteY7" fmla="*/ 9609 h 75066"/>
                    <a:gd name="connsiteX8" fmla="*/ 65484 w 75066"/>
                    <a:gd name="connsiteY8" fmla="*/ 37559 h 75066"/>
                    <a:gd name="connsiteX9" fmla="*/ 37533 w 75066"/>
                    <a:gd name="connsiteY9" fmla="*/ 65509 h 7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066" h="75066">
                      <a:moveTo>
                        <a:pt x="37533" y="0"/>
                      </a:moveTo>
                      <a:cubicBezTo>
                        <a:pt x="16822" y="0"/>
                        <a:pt x="0" y="16847"/>
                        <a:pt x="0" y="37533"/>
                      </a:cubicBezTo>
                      <a:cubicBezTo>
                        <a:pt x="0" y="58245"/>
                        <a:pt x="16848" y="75067"/>
                        <a:pt x="37533" y="75067"/>
                      </a:cubicBezTo>
                      <a:cubicBezTo>
                        <a:pt x="58245" y="75067"/>
                        <a:pt x="75067" y="58219"/>
                        <a:pt x="75067" y="37533"/>
                      </a:cubicBezTo>
                      <a:cubicBezTo>
                        <a:pt x="75067" y="16847"/>
                        <a:pt x="58219" y="0"/>
                        <a:pt x="37533" y="0"/>
                      </a:cubicBezTo>
                      <a:close/>
                      <a:moveTo>
                        <a:pt x="37533" y="65509"/>
                      </a:moveTo>
                      <a:cubicBezTo>
                        <a:pt x="22103" y="65509"/>
                        <a:pt x="9583" y="52964"/>
                        <a:pt x="9583" y="37559"/>
                      </a:cubicBezTo>
                      <a:cubicBezTo>
                        <a:pt x="9583" y="22154"/>
                        <a:pt x="22129" y="9609"/>
                        <a:pt x="37533" y="9609"/>
                      </a:cubicBezTo>
                      <a:cubicBezTo>
                        <a:pt x="52964" y="9609"/>
                        <a:pt x="65484" y="22154"/>
                        <a:pt x="65484" y="37559"/>
                      </a:cubicBezTo>
                      <a:cubicBezTo>
                        <a:pt x="65484" y="52964"/>
                        <a:pt x="52938" y="65509"/>
                        <a:pt x="37533" y="65509"/>
                      </a:cubicBez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31" name="Freihandform: Form 190">
                  <a:extLst>
                    <a:ext uri="{FF2B5EF4-FFF2-40B4-BE49-F238E27FC236}">
                      <a16:creationId xmlns:a16="http://schemas.microsoft.com/office/drawing/2014/main" id="{548CA0FF-0E3D-358F-3E51-0EFAC938B0AD}"/>
                    </a:ext>
                  </a:extLst>
                </p:cNvPr>
                <p:cNvSpPr/>
                <p:nvPr/>
              </p:nvSpPr>
              <p:spPr>
                <a:xfrm>
                  <a:off x="1178253" y="4111881"/>
                  <a:ext cx="75066" cy="75066"/>
                </a:xfrm>
                <a:custGeom>
                  <a:avLst/>
                  <a:gdLst>
                    <a:gd name="connsiteX0" fmla="*/ 37533 w 75066"/>
                    <a:gd name="connsiteY0" fmla="*/ 0 h 75066"/>
                    <a:gd name="connsiteX1" fmla="*/ 0 w 75066"/>
                    <a:gd name="connsiteY1" fmla="*/ 37534 h 75066"/>
                    <a:gd name="connsiteX2" fmla="*/ 37533 w 75066"/>
                    <a:gd name="connsiteY2" fmla="*/ 75067 h 75066"/>
                    <a:gd name="connsiteX3" fmla="*/ 75067 w 75066"/>
                    <a:gd name="connsiteY3" fmla="*/ 37534 h 75066"/>
                    <a:gd name="connsiteX4" fmla="*/ 37533 w 75066"/>
                    <a:gd name="connsiteY4" fmla="*/ 0 h 75066"/>
                    <a:gd name="connsiteX5" fmla="*/ 37533 w 75066"/>
                    <a:gd name="connsiteY5" fmla="*/ 65510 h 75066"/>
                    <a:gd name="connsiteX6" fmla="*/ 9583 w 75066"/>
                    <a:gd name="connsiteY6" fmla="*/ 37559 h 75066"/>
                    <a:gd name="connsiteX7" fmla="*/ 37533 w 75066"/>
                    <a:gd name="connsiteY7" fmla="*/ 9609 h 75066"/>
                    <a:gd name="connsiteX8" fmla="*/ 65484 w 75066"/>
                    <a:gd name="connsiteY8" fmla="*/ 37559 h 75066"/>
                    <a:gd name="connsiteX9" fmla="*/ 37533 w 75066"/>
                    <a:gd name="connsiteY9" fmla="*/ 65510 h 7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066" h="75066">
                      <a:moveTo>
                        <a:pt x="37533" y="0"/>
                      </a:moveTo>
                      <a:cubicBezTo>
                        <a:pt x="16822" y="0"/>
                        <a:pt x="0" y="16848"/>
                        <a:pt x="0" y="37534"/>
                      </a:cubicBezTo>
                      <a:cubicBezTo>
                        <a:pt x="0" y="58245"/>
                        <a:pt x="16848" y="75067"/>
                        <a:pt x="37533" y="75067"/>
                      </a:cubicBezTo>
                      <a:cubicBezTo>
                        <a:pt x="58245" y="75067"/>
                        <a:pt x="75067" y="58219"/>
                        <a:pt x="75067" y="37534"/>
                      </a:cubicBezTo>
                      <a:cubicBezTo>
                        <a:pt x="75067" y="16848"/>
                        <a:pt x="58245" y="0"/>
                        <a:pt x="37533" y="0"/>
                      </a:cubicBezTo>
                      <a:close/>
                      <a:moveTo>
                        <a:pt x="37533" y="65510"/>
                      </a:moveTo>
                      <a:cubicBezTo>
                        <a:pt x="22103" y="65510"/>
                        <a:pt x="9583" y="52964"/>
                        <a:pt x="9583" y="37559"/>
                      </a:cubicBezTo>
                      <a:cubicBezTo>
                        <a:pt x="9583" y="22154"/>
                        <a:pt x="22129" y="9609"/>
                        <a:pt x="37533" y="9609"/>
                      </a:cubicBezTo>
                      <a:cubicBezTo>
                        <a:pt x="52964" y="9609"/>
                        <a:pt x="65484" y="22154"/>
                        <a:pt x="65484" y="37559"/>
                      </a:cubicBezTo>
                      <a:cubicBezTo>
                        <a:pt x="65484" y="52964"/>
                        <a:pt x="52938" y="65510"/>
                        <a:pt x="37533" y="65510"/>
                      </a:cubicBez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32" name="Freihandform: Form 191">
                  <a:extLst>
                    <a:ext uri="{FF2B5EF4-FFF2-40B4-BE49-F238E27FC236}">
                      <a16:creationId xmlns:a16="http://schemas.microsoft.com/office/drawing/2014/main" id="{D9BBFD1B-DBCC-4D37-3E14-7F89D781B72D}"/>
                    </a:ext>
                  </a:extLst>
                </p:cNvPr>
                <p:cNvSpPr/>
                <p:nvPr/>
              </p:nvSpPr>
              <p:spPr>
                <a:xfrm>
                  <a:off x="967349" y="4199751"/>
                  <a:ext cx="75066" cy="75066"/>
                </a:xfrm>
                <a:custGeom>
                  <a:avLst/>
                  <a:gdLst>
                    <a:gd name="connsiteX0" fmla="*/ 37533 w 75066"/>
                    <a:gd name="connsiteY0" fmla="*/ 0 h 75066"/>
                    <a:gd name="connsiteX1" fmla="*/ 0 w 75066"/>
                    <a:gd name="connsiteY1" fmla="*/ 37534 h 75066"/>
                    <a:gd name="connsiteX2" fmla="*/ 37533 w 75066"/>
                    <a:gd name="connsiteY2" fmla="*/ 75067 h 75066"/>
                    <a:gd name="connsiteX3" fmla="*/ 75067 w 75066"/>
                    <a:gd name="connsiteY3" fmla="*/ 37534 h 75066"/>
                    <a:gd name="connsiteX4" fmla="*/ 37533 w 75066"/>
                    <a:gd name="connsiteY4" fmla="*/ 0 h 75066"/>
                    <a:gd name="connsiteX5" fmla="*/ 37533 w 75066"/>
                    <a:gd name="connsiteY5" fmla="*/ 65510 h 75066"/>
                    <a:gd name="connsiteX6" fmla="*/ 9583 w 75066"/>
                    <a:gd name="connsiteY6" fmla="*/ 37559 h 75066"/>
                    <a:gd name="connsiteX7" fmla="*/ 37533 w 75066"/>
                    <a:gd name="connsiteY7" fmla="*/ 9609 h 75066"/>
                    <a:gd name="connsiteX8" fmla="*/ 65484 w 75066"/>
                    <a:gd name="connsiteY8" fmla="*/ 37559 h 75066"/>
                    <a:gd name="connsiteX9" fmla="*/ 37533 w 75066"/>
                    <a:gd name="connsiteY9" fmla="*/ 65510 h 7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066" h="75066">
                      <a:moveTo>
                        <a:pt x="37533" y="0"/>
                      </a:moveTo>
                      <a:cubicBezTo>
                        <a:pt x="16822" y="0"/>
                        <a:pt x="0" y="16848"/>
                        <a:pt x="0" y="37534"/>
                      </a:cubicBezTo>
                      <a:cubicBezTo>
                        <a:pt x="0" y="58245"/>
                        <a:pt x="16848" y="75067"/>
                        <a:pt x="37533" y="75067"/>
                      </a:cubicBezTo>
                      <a:cubicBezTo>
                        <a:pt x="58245" y="75067"/>
                        <a:pt x="75067" y="58219"/>
                        <a:pt x="75067" y="37534"/>
                      </a:cubicBezTo>
                      <a:cubicBezTo>
                        <a:pt x="75093" y="16848"/>
                        <a:pt x="58245" y="0"/>
                        <a:pt x="37533" y="0"/>
                      </a:cubicBezTo>
                      <a:close/>
                      <a:moveTo>
                        <a:pt x="37533" y="65510"/>
                      </a:moveTo>
                      <a:cubicBezTo>
                        <a:pt x="22103" y="65510"/>
                        <a:pt x="9583" y="52964"/>
                        <a:pt x="9583" y="37559"/>
                      </a:cubicBezTo>
                      <a:cubicBezTo>
                        <a:pt x="9583" y="22154"/>
                        <a:pt x="22129" y="9609"/>
                        <a:pt x="37533" y="9609"/>
                      </a:cubicBezTo>
                      <a:cubicBezTo>
                        <a:pt x="52964" y="9609"/>
                        <a:pt x="65484" y="22154"/>
                        <a:pt x="65484" y="37559"/>
                      </a:cubicBezTo>
                      <a:cubicBezTo>
                        <a:pt x="65510" y="52964"/>
                        <a:pt x="52964" y="65510"/>
                        <a:pt x="37533" y="65510"/>
                      </a:cubicBez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33" name="Freihandform: Form 192">
                  <a:extLst>
                    <a:ext uri="{FF2B5EF4-FFF2-40B4-BE49-F238E27FC236}">
                      <a16:creationId xmlns:a16="http://schemas.microsoft.com/office/drawing/2014/main" id="{1C96DF7B-9A8D-F297-E7A7-7D80BD93B175}"/>
                    </a:ext>
                  </a:extLst>
                </p:cNvPr>
                <p:cNvSpPr/>
                <p:nvPr/>
              </p:nvSpPr>
              <p:spPr>
                <a:xfrm>
                  <a:off x="754849" y="4110284"/>
                  <a:ext cx="75066" cy="75066"/>
                </a:xfrm>
                <a:custGeom>
                  <a:avLst/>
                  <a:gdLst>
                    <a:gd name="connsiteX0" fmla="*/ 37533 w 75066"/>
                    <a:gd name="connsiteY0" fmla="*/ 0 h 75066"/>
                    <a:gd name="connsiteX1" fmla="*/ 0 w 75066"/>
                    <a:gd name="connsiteY1" fmla="*/ 37534 h 75066"/>
                    <a:gd name="connsiteX2" fmla="*/ 37533 w 75066"/>
                    <a:gd name="connsiteY2" fmla="*/ 75067 h 75066"/>
                    <a:gd name="connsiteX3" fmla="*/ 75067 w 75066"/>
                    <a:gd name="connsiteY3" fmla="*/ 37534 h 75066"/>
                    <a:gd name="connsiteX4" fmla="*/ 37533 w 75066"/>
                    <a:gd name="connsiteY4" fmla="*/ 0 h 75066"/>
                    <a:gd name="connsiteX5" fmla="*/ 37533 w 75066"/>
                    <a:gd name="connsiteY5" fmla="*/ 65510 h 75066"/>
                    <a:gd name="connsiteX6" fmla="*/ 9583 w 75066"/>
                    <a:gd name="connsiteY6" fmla="*/ 37559 h 75066"/>
                    <a:gd name="connsiteX7" fmla="*/ 37533 w 75066"/>
                    <a:gd name="connsiteY7" fmla="*/ 9609 h 75066"/>
                    <a:gd name="connsiteX8" fmla="*/ 65484 w 75066"/>
                    <a:gd name="connsiteY8" fmla="*/ 37559 h 75066"/>
                    <a:gd name="connsiteX9" fmla="*/ 37533 w 75066"/>
                    <a:gd name="connsiteY9" fmla="*/ 65510 h 7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066" h="75066">
                      <a:moveTo>
                        <a:pt x="37533" y="0"/>
                      </a:moveTo>
                      <a:cubicBezTo>
                        <a:pt x="16822" y="0"/>
                        <a:pt x="0" y="16848"/>
                        <a:pt x="0" y="37534"/>
                      </a:cubicBezTo>
                      <a:cubicBezTo>
                        <a:pt x="0" y="58245"/>
                        <a:pt x="16848" y="75067"/>
                        <a:pt x="37533" y="75067"/>
                      </a:cubicBezTo>
                      <a:cubicBezTo>
                        <a:pt x="58245" y="75067"/>
                        <a:pt x="75067" y="58219"/>
                        <a:pt x="75067" y="37534"/>
                      </a:cubicBezTo>
                      <a:cubicBezTo>
                        <a:pt x="75093" y="16848"/>
                        <a:pt x="58245" y="0"/>
                        <a:pt x="37533" y="0"/>
                      </a:cubicBezTo>
                      <a:close/>
                      <a:moveTo>
                        <a:pt x="37533" y="65510"/>
                      </a:moveTo>
                      <a:cubicBezTo>
                        <a:pt x="22103" y="65510"/>
                        <a:pt x="9583" y="52964"/>
                        <a:pt x="9583" y="37559"/>
                      </a:cubicBezTo>
                      <a:cubicBezTo>
                        <a:pt x="9583" y="22154"/>
                        <a:pt x="22129" y="9609"/>
                        <a:pt x="37533" y="9609"/>
                      </a:cubicBezTo>
                      <a:cubicBezTo>
                        <a:pt x="52938" y="9609"/>
                        <a:pt x="65484" y="22154"/>
                        <a:pt x="65484" y="37559"/>
                      </a:cubicBezTo>
                      <a:cubicBezTo>
                        <a:pt x="65510" y="52964"/>
                        <a:pt x="52964" y="65510"/>
                        <a:pt x="37533" y="65510"/>
                      </a:cubicBez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34" name="Freihandform: Form 193">
                  <a:extLst>
                    <a:ext uri="{FF2B5EF4-FFF2-40B4-BE49-F238E27FC236}">
                      <a16:creationId xmlns:a16="http://schemas.microsoft.com/office/drawing/2014/main" id="{7658F46A-F914-565B-AE5A-57067D67C73C}"/>
                    </a:ext>
                  </a:extLst>
                </p:cNvPr>
                <p:cNvSpPr/>
                <p:nvPr/>
              </p:nvSpPr>
              <p:spPr>
                <a:xfrm>
                  <a:off x="700545" y="3926558"/>
                  <a:ext cx="75066" cy="75066"/>
                </a:xfrm>
                <a:custGeom>
                  <a:avLst/>
                  <a:gdLst>
                    <a:gd name="connsiteX0" fmla="*/ 37533 w 75066"/>
                    <a:gd name="connsiteY0" fmla="*/ 0 h 75066"/>
                    <a:gd name="connsiteX1" fmla="*/ 0 w 75066"/>
                    <a:gd name="connsiteY1" fmla="*/ 37533 h 75066"/>
                    <a:gd name="connsiteX2" fmla="*/ 37533 w 75066"/>
                    <a:gd name="connsiteY2" fmla="*/ 75067 h 75066"/>
                    <a:gd name="connsiteX3" fmla="*/ 75067 w 75066"/>
                    <a:gd name="connsiteY3" fmla="*/ 37533 h 75066"/>
                    <a:gd name="connsiteX4" fmla="*/ 37533 w 75066"/>
                    <a:gd name="connsiteY4" fmla="*/ 0 h 75066"/>
                    <a:gd name="connsiteX5" fmla="*/ 37533 w 75066"/>
                    <a:gd name="connsiteY5" fmla="*/ 65509 h 75066"/>
                    <a:gd name="connsiteX6" fmla="*/ 9583 w 75066"/>
                    <a:gd name="connsiteY6" fmla="*/ 37559 h 75066"/>
                    <a:gd name="connsiteX7" fmla="*/ 37533 w 75066"/>
                    <a:gd name="connsiteY7" fmla="*/ 9609 h 75066"/>
                    <a:gd name="connsiteX8" fmla="*/ 65484 w 75066"/>
                    <a:gd name="connsiteY8" fmla="*/ 37559 h 75066"/>
                    <a:gd name="connsiteX9" fmla="*/ 37533 w 75066"/>
                    <a:gd name="connsiteY9" fmla="*/ 65509 h 7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066" h="75066">
                      <a:moveTo>
                        <a:pt x="37533" y="0"/>
                      </a:moveTo>
                      <a:cubicBezTo>
                        <a:pt x="16822" y="0"/>
                        <a:pt x="0" y="16847"/>
                        <a:pt x="0" y="37533"/>
                      </a:cubicBezTo>
                      <a:cubicBezTo>
                        <a:pt x="0" y="58245"/>
                        <a:pt x="16848" y="75067"/>
                        <a:pt x="37533" y="75067"/>
                      </a:cubicBezTo>
                      <a:cubicBezTo>
                        <a:pt x="58245" y="75067"/>
                        <a:pt x="75067" y="58219"/>
                        <a:pt x="75067" y="37533"/>
                      </a:cubicBezTo>
                      <a:cubicBezTo>
                        <a:pt x="75067" y="16847"/>
                        <a:pt x="58219" y="0"/>
                        <a:pt x="37533" y="0"/>
                      </a:cubicBezTo>
                      <a:close/>
                      <a:moveTo>
                        <a:pt x="37533" y="65509"/>
                      </a:moveTo>
                      <a:cubicBezTo>
                        <a:pt x="22103" y="65509"/>
                        <a:pt x="9583" y="52964"/>
                        <a:pt x="9583" y="37559"/>
                      </a:cubicBezTo>
                      <a:cubicBezTo>
                        <a:pt x="9583" y="22154"/>
                        <a:pt x="22129" y="9609"/>
                        <a:pt x="37533" y="9609"/>
                      </a:cubicBezTo>
                      <a:cubicBezTo>
                        <a:pt x="52938" y="9609"/>
                        <a:pt x="65484" y="22154"/>
                        <a:pt x="65484" y="37559"/>
                      </a:cubicBezTo>
                      <a:cubicBezTo>
                        <a:pt x="65484" y="52964"/>
                        <a:pt x="52938" y="65509"/>
                        <a:pt x="37533" y="65509"/>
                      </a:cubicBez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35" name="Freihandform: Form 194">
                  <a:extLst>
                    <a:ext uri="{FF2B5EF4-FFF2-40B4-BE49-F238E27FC236}">
                      <a16:creationId xmlns:a16="http://schemas.microsoft.com/office/drawing/2014/main" id="{C5D5612B-282F-FEF0-8BF8-722C51BAC5A4}"/>
                    </a:ext>
                  </a:extLst>
                </p:cNvPr>
                <p:cNvSpPr/>
                <p:nvPr/>
              </p:nvSpPr>
              <p:spPr>
                <a:xfrm>
                  <a:off x="752453" y="3741209"/>
                  <a:ext cx="75066" cy="75066"/>
                </a:xfrm>
                <a:custGeom>
                  <a:avLst/>
                  <a:gdLst>
                    <a:gd name="connsiteX0" fmla="*/ 37533 w 75066"/>
                    <a:gd name="connsiteY0" fmla="*/ 0 h 75066"/>
                    <a:gd name="connsiteX1" fmla="*/ 0 w 75066"/>
                    <a:gd name="connsiteY1" fmla="*/ 37533 h 75066"/>
                    <a:gd name="connsiteX2" fmla="*/ 37533 w 75066"/>
                    <a:gd name="connsiteY2" fmla="*/ 75067 h 75066"/>
                    <a:gd name="connsiteX3" fmla="*/ 75067 w 75066"/>
                    <a:gd name="connsiteY3" fmla="*/ 37533 h 75066"/>
                    <a:gd name="connsiteX4" fmla="*/ 37533 w 75066"/>
                    <a:gd name="connsiteY4" fmla="*/ 0 h 75066"/>
                    <a:gd name="connsiteX5" fmla="*/ 37533 w 75066"/>
                    <a:gd name="connsiteY5" fmla="*/ 65510 h 75066"/>
                    <a:gd name="connsiteX6" fmla="*/ 9583 w 75066"/>
                    <a:gd name="connsiteY6" fmla="*/ 37559 h 75066"/>
                    <a:gd name="connsiteX7" fmla="*/ 37533 w 75066"/>
                    <a:gd name="connsiteY7" fmla="*/ 9609 h 75066"/>
                    <a:gd name="connsiteX8" fmla="*/ 65484 w 75066"/>
                    <a:gd name="connsiteY8" fmla="*/ 37559 h 75066"/>
                    <a:gd name="connsiteX9" fmla="*/ 37533 w 75066"/>
                    <a:gd name="connsiteY9" fmla="*/ 65510 h 7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066" h="75066">
                      <a:moveTo>
                        <a:pt x="37533" y="0"/>
                      </a:moveTo>
                      <a:cubicBezTo>
                        <a:pt x="16822" y="0"/>
                        <a:pt x="0" y="16848"/>
                        <a:pt x="0" y="37533"/>
                      </a:cubicBezTo>
                      <a:cubicBezTo>
                        <a:pt x="0" y="58245"/>
                        <a:pt x="16848" y="75067"/>
                        <a:pt x="37533" y="75067"/>
                      </a:cubicBezTo>
                      <a:cubicBezTo>
                        <a:pt x="58245" y="75067"/>
                        <a:pt x="75067" y="58219"/>
                        <a:pt x="75067" y="37533"/>
                      </a:cubicBezTo>
                      <a:cubicBezTo>
                        <a:pt x="75093" y="16848"/>
                        <a:pt x="58245" y="0"/>
                        <a:pt x="37533" y="0"/>
                      </a:cubicBezTo>
                      <a:close/>
                      <a:moveTo>
                        <a:pt x="37533" y="65510"/>
                      </a:moveTo>
                      <a:cubicBezTo>
                        <a:pt x="22103" y="65510"/>
                        <a:pt x="9583" y="52964"/>
                        <a:pt x="9583" y="37559"/>
                      </a:cubicBezTo>
                      <a:cubicBezTo>
                        <a:pt x="9583" y="22154"/>
                        <a:pt x="22129" y="9609"/>
                        <a:pt x="37533" y="9609"/>
                      </a:cubicBezTo>
                      <a:cubicBezTo>
                        <a:pt x="52938" y="9609"/>
                        <a:pt x="65484" y="22154"/>
                        <a:pt x="65484" y="37559"/>
                      </a:cubicBezTo>
                      <a:cubicBezTo>
                        <a:pt x="65510" y="52964"/>
                        <a:pt x="52964" y="65510"/>
                        <a:pt x="37533" y="65510"/>
                      </a:cubicBez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36" name="Freihandform: Form 195">
                  <a:extLst>
                    <a:ext uri="{FF2B5EF4-FFF2-40B4-BE49-F238E27FC236}">
                      <a16:creationId xmlns:a16="http://schemas.microsoft.com/office/drawing/2014/main" id="{AA2CC2DD-4004-107B-9E56-CBA4949B6173}"/>
                    </a:ext>
                  </a:extLst>
                </p:cNvPr>
                <p:cNvSpPr/>
                <p:nvPr/>
              </p:nvSpPr>
              <p:spPr>
                <a:xfrm>
                  <a:off x="1175857" y="3738015"/>
                  <a:ext cx="75066" cy="75066"/>
                </a:xfrm>
                <a:custGeom>
                  <a:avLst/>
                  <a:gdLst>
                    <a:gd name="connsiteX0" fmla="*/ 37533 w 75066"/>
                    <a:gd name="connsiteY0" fmla="*/ 0 h 75066"/>
                    <a:gd name="connsiteX1" fmla="*/ 0 w 75066"/>
                    <a:gd name="connsiteY1" fmla="*/ 37533 h 75066"/>
                    <a:gd name="connsiteX2" fmla="*/ 37533 w 75066"/>
                    <a:gd name="connsiteY2" fmla="*/ 75067 h 75066"/>
                    <a:gd name="connsiteX3" fmla="*/ 75067 w 75066"/>
                    <a:gd name="connsiteY3" fmla="*/ 37533 h 75066"/>
                    <a:gd name="connsiteX4" fmla="*/ 37533 w 75066"/>
                    <a:gd name="connsiteY4" fmla="*/ 0 h 75066"/>
                    <a:gd name="connsiteX5" fmla="*/ 37533 w 75066"/>
                    <a:gd name="connsiteY5" fmla="*/ 65510 h 75066"/>
                    <a:gd name="connsiteX6" fmla="*/ 9583 w 75066"/>
                    <a:gd name="connsiteY6" fmla="*/ 37559 h 75066"/>
                    <a:gd name="connsiteX7" fmla="*/ 37533 w 75066"/>
                    <a:gd name="connsiteY7" fmla="*/ 9609 h 75066"/>
                    <a:gd name="connsiteX8" fmla="*/ 65484 w 75066"/>
                    <a:gd name="connsiteY8" fmla="*/ 37559 h 75066"/>
                    <a:gd name="connsiteX9" fmla="*/ 37533 w 75066"/>
                    <a:gd name="connsiteY9" fmla="*/ 65510 h 7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066" h="75066">
                      <a:moveTo>
                        <a:pt x="37533" y="0"/>
                      </a:moveTo>
                      <a:cubicBezTo>
                        <a:pt x="16822" y="0"/>
                        <a:pt x="0" y="16848"/>
                        <a:pt x="0" y="37533"/>
                      </a:cubicBezTo>
                      <a:cubicBezTo>
                        <a:pt x="0" y="58245"/>
                        <a:pt x="16848" y="75067"/>
                        <a:pt x="37533" y="75067"/>
                      </a:cubicBezTo>
                      <a:cubicBezTo>
                        <a:pt x="58245" y="75067"/>
                        <a:pt x="75067" y="58219"/>
                        <a:pt x="75067" y="37533"/>
                      </a:cubicBezTo>
                      <a:cubicBezTo>
                        <a:pt x="75067" y="16848"/>
                        <a:pt x="58219" y="0"/>
                        <a:pt x="37533" y="0"/>
                      </a:cubicBezTo>
                      <a:close/>
                      <a:moveTo>
                        <a:pt x="37533" y="65510"/>
                      </a:moveTo>
                      <a:cubicBezTo>
                        <a:pt x="22103" y="65510"/>
                        <a:pt x="9583" y="52964"/>
                        <a:pt x="9583" y="37559"/>
                      </a:cubicBezTo>
                      <a:cubicBezTo>
                        <a:pt x="9583" y="22154"/>
                        <a:pt x="22129" y="9609"/>
                        <a:pt x="37533" y="9609"/>
                      </a:cubicBezTo>
                      <a:cubicBezTo>
                        <a:pt x="52964" y="9609"/>
                        <a:pt x="65484" y="22154"/>
                        <a:pt x="65484" y="37559"/>
                      </a:cubicBezTo>
                      <a:cubicBezTo>
                        <a:pt x="65484" y="52964"/>
                        <a:pt x="52938" y="65510"/>
                        <a:pt x="37533" y="65510"/>
                      </a:cubicBezTo>
                      <a:close/>
                    </a:path>
                  </a:pathLst>
                </a:custGeom>
                <a:grpFill/>
                <a:ln w="2571"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grpSp>
          <p:grpSp>
            <p:nvGrpSpPr>
              <p:cNvPr id="24" name="Grafik 108">
                <a:extLst>
                  <a:ext uri="{FF2B5EF4-FFF2-40B4-BE49-F238E27FC236}">
                    <a16:creationId xmlns:a16="http://schemas.microsoft.com/office/drawing/2014/main" id="{8B35D5B5-64D7-D5E0-BFD4-1B08D74341EE}"/>
                  </a:ext>
                </a:extLst>
              </p:cNvPr>
              <p:cNvGrpSpPr/>
              <p:nvPr/>
            </p:nvGrpSpPr>
            <p:grpSpPr>
              <a:xfrm>
                <a:off x="949392" y="3900251"/>
                <a:ext cx="202252" cy="217092"/>
                <a:chOff x="949392" y="3900252"/>
                <a:chExt cx="284856" cy="305758"/>
              </a:xfrm>
              <a:solidFill>
                <a:schemeClr val="bg2"/>
              </a:solidFill>
            </p:grpSpPr>
            <p:sp>
              <p:nvSpPr>
                <p:cNvPr id="25" name="Freihandform: Form 206">
                  <a:extLst>
                    <a:ext uri="{FF2B5EF4-FFF2-40B4-BE49-F238E27FC236}">
                      <a16:creationId xmlns:a16="http://schemas.microsoft.com/office/drawing/2014/main" id="{B376990B-EFFD-26A5-8A8B-F43C3FFF31F1}"/>
                    </a:ext>
                  </a:extLst>
                </p:cNvPr>
                <p:cNvSpPr/>
                <p:nvPr/>
              </p:nvSpPr>
              <p:spPr>
                <a:xfrm>
                  <a:off x="949392" y="3973194"/>
                  <a:ext cx="284821" cy="169816"/>
                </a:xfrm>
                <a:custGeom>
                  <a:avLst/>
                  <a:gdLst>
                    <a:gd name="connsiteX0" fmla="*/ 227674 w 284821"/>
                    <a:gd name="connsiteY0" fmla="*/ 169817 h 169816"/>
                    <a:gd name="connsiteX1" fmla="*/ 221415 w 284821"/>
                    <a:gd name="connsiteY1" fmla="*/ 169682 h 169816"/>
                    <a:gd name="connsiteX2" fmla="*/ 116984 w 284821"/>
                    <a:gd name="connsiteY2" fmla="*/ 142802 h 169816"/>
                    <a:gd name="connsiteX3" fmla="*/ 26563 w 284821"/>
                    <a:gd name="connsiteY3" fmla="*/ 84029 h 169816"/>
                    <a:gd name="connsiteX4" fmla="*/ 2447 w 284821"/>
                    <a:gd name="connsiteY4" fmla="*/ 23386 h 169816"/>
                    <a:gd name="connsiteX5" fmla="*/ 63441 w 284821"/>
                    <a:gd name="connsiteY5" fmla="*/ 138 h 169816"/>
                    <a:gd name="connsiteX6" fmla="*/ 167872 w 284821"/>
                    <a:gd name="connsiteY6" fmla="*/ 27018 h 169816"/>
                    <a:gd name="connsiteX7" fmla="*/ 167872 w 284821"/>
                    <a:gd name="connsiteY7" fmla="*/ 27018 h 169816"/>
                    <a:gd name="connsiteX8" fmla="*/ 282410 w 284821"/>
                    <a:gd name="connsiteY8" fmla="*/ 146433 h 169816"/>
                    <a:gd name="connsiteX9" fmla="*/ 227674 w 284821"/>
                    <a:gd name="connsiteY9" fmla="*/ 169817 h 169816"/>
                    <a:gd name="connsiteX10" fmla="*/ 57209 w 284821"/>
                    <a:gd name="connsiteY10" fmla="*/ 9974 h 169816"/>
                    <a:gd name="connsiteX11" fmla="*/ 11578 w 284821"/>
                    <a:gd name="connsiteY11" fmla="*/ 27397 h 169816"/>
                    <a:gd name="connsiteX12" fmla="*/ 33635 w 284821"/>
                    <a:gd name="connsiteY12" fmla="*/ 77011 h 169816"/>
                    <a:gd name="connsiteX13" fmla="*/ 120995 w 284821"/>
                    <a:gd name="connsiteY13" fmla="*/ 133697 h 169816"/>
                    <a:gd name="connsiteX14" fmla="*/ 221794 w 284821"/>
                    <a:gd name="connsiteY14" fmla="*/ 159737 h 169816"/>
                    <a:gd name="connsiteX15" fmla="*/ 273278 w 284821"/>
                    <a:gd name="connsiteY15" fmla="*/ 142422 h 169816"/>
                    <a:gd name="connsiteX16" fmla="*/ 163862 w 284821"/>
                    <a:gd name="connsiteY16" fmla="*/ 36122 h 169816"/>
                    <a:gd name="connsiteX17" fmla="*/ 63062 w 284821"/>
                    <a:gd name="connsiteY17" fmla="*/ 10082 h 169816"/>
                    <a:gd name="connsiteX18" fmla="*/ 57209 w 284821"/>
                    <a:gd name="connsiteY18" fmla="*/ 9974 h 169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4821" h="169816">
                      <a:moveTo>
                        <a:pt x="227674" y="169817"/>
                      </a:moveTo>
                      <a:cubicBezTo>
                        <a:pt x="225642" y="169817"/>
                        <a:pt x="223556" y="169790"/>
                        <a:pt x="221415" y="169682"/>
                      </a:cubicBezTo>
                      <a:cubicBezTo>
                        <a:pt x="190796" y="168489"/>
                        <a:pt x="153727" y="158951"/>
                        <a:pt x="116984" y="142802"/>
                      </a:cubicBezTo>
                      <a:cubicBezTo>
                        <a:pt x="80241" y="126652"/>
                        <a:pt x="48132" y="105788"/>
                        <a:pt x="26563" y="84029"/>
                      </a:cubicBezTo>
                      <a:cubicBezTo>
                        <a:pt x="3883" y="61159"/>
                        <a:pt x="-4680" y="39618"/>
                        <a:pt x="2447" y="23386"/>
                      </a:cubicBezTo>
                      <a:cubicBezTo>
                        <a:pt x="9600" y="7128"/>
                        <a:pt x="31250" y="-1190"/>
                        <a:pt x="63441" y="138"/>
                      </a:cubicBezTo>
                      <a:cubicBezTo>
                        <a:pt x="94060" y="1330"/>
                        <a:pt x="131129" y="10868"/>
                        <a:pt x="167872" y="27018"/>
                      </a:cubicBezTo>
                      <a:lnTo>
                        <a:pt x="167872" y="27018"/>
                      </a:lnTo>
                      <a:cubicBezTo>
                        <a:pt x="246371" y="61539"/>
                        <a:pt x="296662" y="113971"/>
                        <a:pt x="282410" y="146433"/>
                      </a:cubicBezTo>
                      <a:cubicBezTo>
                        <a:pt x="275744" y="161607"/>
                        <a:pt x="256424" y="169817"/>
                        <a:pt x="227674" y="169817"/>
                      </a:cubicBezTo>
                      <a:close/>
                      <a:moveTo>
                        <a:pt x="57209" y="9974"/>
                      </a:moveTo>
                      <a:cubicBezTo>
                        <a:pt x="32984" y="9974"/>
                        <a:pt x="16510" y="16206"/>
                        <a:pt x="11578" y="27397"/>
                      </a:cubicBezTo>
                      <a:cubicBezTo>
                        <a:pt x="6267" y="39455"/>
                        <a:pt x="14315" y="57556"/>
                        <a:pt x="33635" y="77011"/>
                      </a:cubicBezTo>
                      <a:cubicBezTo>
                        <a:pt x="54364" y="97902"/>
                        <a:pt x="85389" y="118035"/>
                        <a:pt x="120995" y="133697"/>
                      </a:cubicBezTo>
                      <a:cubicBezTo>
                        <a:pt x="156600" y="149359"/>
                        <a:pt x="192394" y="158599"/>
                        <a:pt x="221794" y="159737"/>
                      </a:cubicBezTo>
                      <a:cubicBezTo>
                        <a:pt x="249216" y="160821"/>
                        <a:pt x="267967" y="154507"/>
                        <a:pt x="273278" y="142422"/>
                      </a:cubicBezTo>
                      <a:cubicBezTo>
                        <a:pt x="283629" y="118875"/>
                        <a:pt x="242144" y="70535"/>
                        <a:pt x="163862" y="36122"/>
                      </a:cubicBezTo>
                      <a:cubicBezTo>
                        <a:pt x="128256" y="20460"/>
                        <a:pt x="92462" y="11220"/>
                        <a:pt x="63062" y="10082"/>
                      </a:cubicBezTo>
                      <a:cubicBezTo>
                        <a:pt x="61084" y="10001"/>
                        <a:pt x="59133" y="9974"/>
                        <a:pt x="57209" y="9974"/>
                      </a:cubicBezTo>
                      <a:close/>
                    </a:path>
                  </a:pathLst>
                </a:custGeom>
                <a:grpFill/>
                <a:ln w="2705"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26" name="Freihandform: Form 207">
                  <a:extLst>
                    <a:ext uri="{FF2B5EF4-FFF2-40B4-BE49-F238E27FC236}">
                      <a16:creationId xmlns:a16="http://schemas.microsoft.com/office/drawing/2014/main" id="{D380CB4D-46B8-5F38-FC52-032F587174FE}"/>
                    </a:ext>
                  </a:extLst>
                </p:cNvPr>
                <p:cNvSpPr/>
                <p:nvPr/>
              </p:nvSpPr>
              <p:spPr>
                <a:xfrm>
                  <a:off x="949405" y="3973172"/>
                  <a:ext cx="284843" cy="169838"/>
                </a:xfrm>
                <a:custGeom>
                  <a:avLst/>
                  <a:gdLst>
                    <a:gd name="connsiteX0" fmla="*/ 57196 w 284843"/>
                    <a:gd name="connsiteY0" fmla="*/ 169839 h 169838"/>
                    <a:gd name="connsiteX1" fmla="*/ 2461 w 284843"/>
                    <a:gd name="connsiteY1" fmla="*/ 146455 h 169838"/>
                    <a:gd name="connsiteX2" fmla="*/ 26577 w 284843"/>
                    <a:gd name="connsiteY2" fmla="*/ 85785 h 169838"/>
                    <a:gd name="connsiteX3" fmla="*/ 116999 w 284843"/>
                    <a:gd name="connsiteY3" fmla="*/ 27012 h 169838"/>
                    <a:gd name="connsiteX4" fmla="*/ 221429 w 284843"/>
                    <a:gd name="connsiteY4" fmla="*/ 132 h 169838"/>
                    <a:gd name="connsiteX5" fmla="*/ 282424 w 284843"/>
                    <a:gd name="connsiteY5" fmla="*/ 23381 h 169838"/>
                    <a:gd name="connsiteX6" fmla="*/ 167886 w 284843"/>
                    <a:gd name="connsiteY6" fmla="*/ 142796 h 169838"/>
                    <a:gd name="connsiteX7" fmla="*/ 167886 w 284843"/>
                    <a:gd name="connsiteY7" fmla="*/ 142796 h 169838"/>
                    <a:gd name="connsiteX8" fmla="*/ 63456 w 284843"/>
                    <a:gd name="connsiteY8" fmla="*/ 169676 h 169838"/>
                    <a:gd name="connsiteX9" fmla="*/ 57196 w 284843"/>
                    <a:gd name="connsiteY9" fmla="*/ 169839 h 169838"/>
                    <a:gd name="connsiteX10" fmla="*/ 227662 w 284843"/>
                    <a:gd name="connsiteY10" fmla="*/ 9996 h 169838"/>
                    <a:gd name="connsiteX11" fmla="*/ 221809 w 284843"/>
                    <a:gd name="connsiteY11" fmla="*/ 10104 h 169838"/>
                    <a:gd name="connsiteX12" fmla="*/ 121009 w 284843"/>
                    <a:gd name="connsiteY12" fmla="*/ 36144 h 169838"/>
                    <a:gd name="connsiteX13" fmla="*/ 33649 w 284843"/>
                    <a:gd name="connsiteY13" fmla="*/ 92803 h 169838"/>
                    <a:gd name="connsiteX14" fmla="*/ 11593 w 284843"/>
                    <a:gd name="connsiteY14" fmla="*/ 142417 h 169838"/>
                    <a:gd name="connsiteX15" fmla="*/ 63076 w 284843"/>
                    <a:gd name="connsiteY15" fmla="*/ 159732 h 169838"/>
                    <a:gd name="connsiteX16" fmla="*/ 163876 w 284843"/>
                    <a:gd name="connsiteY16" fmla="*/ 133692 h 169838"/>
                    <a:gd name="connsiteX17" fmla="*/ 163876 w 284843"/>
                    <a:gd name="connsiteY17" fmla="*/ 133692 h 169838"/>
                    <a:gd name="connsiteX18" fmla="*/ 273292 w 284843"/>
                    <a:gd name="connsiteY18" fmla="*/ 27392 h 169838"/>
                    <a:gd name="connsiteX19" fmla="*/ 227662 w 284843"/>
                    <a:gd name="connsiteY19" fmla="*/ 9996 h 169838"/>
                    <a:gd name="connsiteX20" fmla="*/ 165854 w 284843"/>
                    <a:gd name="connsiteY20" fmla="*/ 138271 h 169838"/>
                    <a:gd name="connsiteX21" fmla="*/ 165908 w 284843"/>
                    <a:gd name="connsiteY21" fmla="*/ 138271 h 169838"/>
                    <a:gd name="connsiteX22" fmla="*/ 165854 w 284843"/>
                    <a:gd name="connsiteY22" fmla="*/ 138271 h 169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4843" h="169838">
                      <a:moveTo>
                        <a:pt x="57196" y="169839"/>
                      </a:moveTo>
                      <a:cubicBezTo>
                        <a:pt x="28447" y="169839"/>
                        <a:pt x="9127" y="161629"/>
                        <a:pt x="2461" y="146455"/>
                      </a:cubicBezTo>
                      <a:cubicBezTo>
                        <a:pt x="-4693" y="130197"/>
                        <a:pt x="3870" y="108655"/>
                        <a:pt x="26577" y="85785"/>
                      </a:cubicBezTo>
                      <a:cubicBezTo>
                        <a:pt x="48146" y="64026"/>
                        <a:pt x="80256" y="43162"/>
                        <a:pt x="116999" y="27012"/>
                      </a:cubicBezTo>
                      <a:cubicBezTo>
                        <a:pt x="153715" y="10863"/>
                        <a:pt x="190810" y="1325"/>
                        <a:pt x="221429" y="132"/>
                      </a:cubicBezTo>
                      <a:cubicBezTo>
                        <a:pt x="253539" y="-1168"/>
                        <a:pt x="275270" y="7150"/>
                        <a:pt x="282424" y="23381"/>
                      </a:cubicBezTo>
                      <a:cubicBezTo>
                        <a:pt x="296704" y="55843"/>
                        <a:pt x="246385" y="108302"/>
                        <a:pt x="167886" y="142796"/>
                      </a:cubicBezTo>
                      <a:lnTo>
                        <a:pt x="167886" y="142796"/>
                      </a:lnTo>
                      <a:cubicBezTo>
                        <a:pt x="131143" y="158946"/>
                        <a:pt x="94075" y="168484"/>
                        <a:pt x="63456" y="169676"/>
                      </a:cubicBezTo>
                      <a:cubicBezTo>
                        <a:pt x="61315" y="169785"/>
                        <a:pt x="59228" y="169839"/>
                        <a:pt x="57196" y="169839"/>
                      </a:cubicBezTo>
                      <a:close/>
                      <a:moveTo>
                        <a:pt x="227662" y="9996"/>
                      </a:moveTo>
                      <a:cubicBezTo>
                        <a:pt x="225765" y="9996"/>
                        <a:pt x="223787" y="10023"/>
                        <a:pt x="221809" y="10104"/>
                      </a:cubicBezTo>
                      <a:cubicBezTo>
                        <a:pt x="192409" y="11242"/>
                        <a:pt x="156614" y="20509"/>
                        <a:pt x="121009" y="36144"/>
                      </a:cubicBezTo>
                      <a:cubicBezTo>
                        <a:pt x="85404" y="51806"/>
                        <a:pt x="54378" y="71939"/>
                        <a:pt x="33649" y="92803"/>
                      </a:cubicBezTo>
                      <a:cubicBezTo>
                        <a:pt x="14329" y="112286"/>
                        <a:pt x="6282" y="130359"/>
                        <a:pt x="11593" y="142417"/>
                      </a:cubicBezTo>
                      <a:cubicBezTo>
                        <a:pt x="16903" y="154475"/>
                        <a:pt x="35573" y="160789"/>
                        <a:pt x="63076" y="159732"/>
                      </a:cubicBezTo>
                      <a:cubicBezTo>
                        <a:pt x="92476" y="158594"/>
                        <a:pt x="128271" y="149327"/>
                        <a:pt x="163876" y="133692"/>
                      </a:cubicBezTo>
                      <a:lnTo>
                        <a:pt x="163876" y="133692"/>
                      </a:lnTo>
                      <a:cubicBezTo>
                        <a:pt x="242158" y="99279"/>
                        <a:pt x="283643" y="50939"/>
                        <a:pt x="273292" y="27392"/>
                      </a:cubicBezTo>
                      <a:cubicBezTo>
                        <a:pt x="268361" y="16228"/>
                        <a:pt x="251886" y="9996"/>
                        <a:pt x="227662" y="9996"/>
                      </a:cubicBezTo>
                      <a:close/>
                      <a:moveTo>
                        <a:pt x="165854" y="138271"/>
                      </a:moveTo>
                      <a:lnTo>
                        <a:pt x="165908" y="138271"/>
                      </a:lnTo>
                      <a:lnTo>
                        <a:pt x="165854" y="138271"/>
                      </a:lnTo>
                      <a:close/>
                    </a:path>
                  </a:pathLst>
                </a:custGeom>
                <a:grpFill/>
                <a:ln w="2705"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27" name="Freihandform: Form 208">
                  <a:extLst>
                    <a:ext uri="{FF2B5EF4-FFF2-40B4-BE49-F238E27FC236}">
                      <a16:creationId xmlns:a16="http://schemas.microsoft.com/office/drawing/2014/main" id="{6C102633-D289-1D98-3EC1-1405EBA2E963}"/>
                    </a:ext>
                  </a:extLst>
                </p:cNvPr>
                <p:cNvSpPr/>
                <p:nvPr/>
              </p:nvSpPr>
              <p:spPr>
                <a:xfrm>
                  <a:off x="1062610" y="4025466"/>
                  <a:ext cx="58474" cy="58474"/>
                </a:xfrm>
                <a:custGeom>
                  <a:avLst/>
                  <a:gdLst>
                    <a:gd name="connsiteX0" fmla="*/ 29237 w 58474"/>
                    <a:gd name="connsiteY0" fmla="*/ 58475 h 58474"/>
                    <a:gd name="connsiteX1" fmla="*/ 0 w 58474"/>
                    <a:gd name="connsiteY1" fmla="*/ 29237 h 58474"/>
                    <a:gd name="connsiteX2" fmla="*/ 29237 w 58474"/>
                    <a:gd name="connsiteY2" fmla="*/ 0 h 58474"/>
                    <a:gd name="connsiteX3" fmla="*/ 58475 w 58474"/>
                    <a:gd name="connsiteY3" fmla="*/ 29237 h 58474"/>
                    <a:gd name="connsiteX4" fmla="*/ 29237 w 58474"/>
                    <a:gd name="connsiteY4" fmla="*/ 58475 h 58474"/>
                    <a:gd name="connsiteX5" fmla="*/ 29237 w 58474"/>
                    <a:gd name="connsiteY5" fmla="*/ 9972 h 58474"/>
                    <a:gd name="connsiteX6" fmla="*/ 9972 w 58474"/>
                    <a:gd name="connsiteY6" fmla="*/ 29237 h 58474"/>
                    <a:gd name="connsiteX7" fmla="*/ 29237 w 58474"/>
                    <a:gd name="connsiteY7" fmla="*/ 48503 h 58474"/>
                    <a:gd name="connsiteX8" fmla="*/ 48503 w 58474"/>
                    <a:gd name="connsiteY8" fmla="*/ 29237 h 58474"/>
                    <a:gd name="connsiteX9" fmla="*/ 29237 w 58474"/>
                    <a:gd name="connsiteY9" fmla="*/ 9972 h 5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474" h="58474">
                      <a:moveTo>
                        <a:pt x="29237" y="58475"/>
                      </a:moveTo>
                      <a:cubicBezTo>
                        <a:pt x="13115" y="58475"/>
                        <a:pt x="0" y="45360"/>
                        <a:pt x="0" y="29237"/>
                      </a:cubicBezTo>
                      <a:cubicBezTo>
                        <a:pt x="0" y="13115"/>
                        <a:pt x="13115" y="0"/>
                        <a:pt x="29237" y="0"/>
                      </a:cubicBezTo>
                      <a:cubicBezTo>
                        <a:pt x="45360" y="0"/>
                        <a:pt x="58475" y="13115"/>
                        <a:pt x="58475" y="29237"/>
                      </a:cubicBezTo>
                      <a:cubicBezTo>
                        <a:pt x="58448" y="45360"/>
                        <a:pt x="45333" y="58475"/>
                        <a:pt x="29237" y="58475"/>
                      </a:cubicBezTo>
                      <a:close/>
                      <a:moveTo>
                        <a:pt x="29237" y="9972"/>
                      </a:moveTo>
                      <a:cubicBezTo>
                        <a:pt x="18615" y="9972"/>
                        <a:pt x="9972" y="18615"/>
                        <a:pt x="9972" y="29237"/>
                      </a:cubicBezTo>
                      <a:cubicBezTo>
                        <a:pt x="9972" y="39859"/>
                        <a:pt x="18615" y="48503"/>
                        <a:pt x="29237" y="48503"/>
                      </a:cubicBezTo>
                      <a:cubicBezTo>
                        <a:pt x="39859" y="48503"/>
                        <a:pt x="48503" y="39859"/>
                        <a:pt x="48503" y="29237"/>
                      </a:cubicBezTo>
                      <a:cubicBezTo>
                        <a:pt x="48476" y="18615"/>
                        <a:pt x="39859" y="9972"/>
                        <a:pt x="29237" y="9972"/>
                      </a:cubicBezTo>
                      <a:close/>
                    </a:path>
                  </a:pathLst>
                </a:custGeom>
                <a:grpFill/>
                <a:ln w="2705"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sp>
              <p:nvSpPr>
                <p:cNvPr id="28" name="Freihandform: Form 209">
                  <a:extLst>
                    <a:ext uri="{FF2B5EF4-FFF2-40B4-BE49-F238E27FC236}">
                      <a16:creationId xmlns:a16="http://schemas.microsoft.com/office/drawing/2014/main" id="{E0CEF0D6-15C7-0611-979C-ABCB4EFD83A9}"/>
                    </a:ext>
                  </a:extLst>
                </p:cNvPr>
                <p:cNvSpPr/>
                <p:nvPr/>
              </p:nvSpPr>
              <p:spPr>
                <a:xfrm>
                  <a:off x="1028537" y="3900252"/>
                  <a:ext cx="126566" cy="305758"/>
                </a:xfrm>
                <a:custGeom>
                  <a:avLst/>
                  <a:gdLst>
                    <a:gd name="connsiteX0" fmla="*/ 65071 w 126566"/>
                    <a:gd name="connsiteY0" fmla="*/ 305759 h 305758"/>
                    <a:gd name="connsiteX1" fmla="*/ 39 w 126566"/>
                    <a:gd name="connsiteY1" fmla="*/ 153774 h 305758"/>
                    <a:gd name="connsiteX2" fmla="*/ 39 w 126566"/>
                    <a:gd name="connsiteY2" fmla="*/ 153774 h 305758"/>
                    <a:gd name="connsiteX3" fmla="*/ 15945 w 126566"/>
                    <a:gd name="connsiteY3" fmla="*/ 47121 h 305758"/>
                    <a:gd name="connsiteX4" fmla="*/ 61115 w 126566"/>
                    <a:gd name="connsiteY4" fmla="*/ 0 h 305758"/>
                    <a:gd name="connsiteX5" fmla="*/ 61522 w 126566"/>
                    <a:gd name="connsiteY5" fmla="*/ 0 h 305758"/>
                    <a:gd name="connsiteX6" fmla="*/ 107586 w 126566"/>
                    <a:gd name="connsiteY6" fmla="*/ 45821 h 305758"/>
                    <a:gd name="connsiteX7" fmla="*/ 126527 w 126566"/>
                    <a:gd name="connsiteY7" fmla="*/ 151985 h 305758"/>
                    <a:gd name="connsiteX8" fmla="*/ 65451 w 126566"/>
                    <a:gd name="connsiteY8" fmla="*/ 305759 h 305758"/>
                    <a:gd name="connsiteX9" fmla="*/ 65071 w 126566"/>
                    <a:gd name="connsiteY9" fmla="*/ 305759 h 305758"/>
                    <a:gd name="connsiteX10" fmla="*/ 10011 w 126566"/>
                    <a:gd name="connsiteY10" fmla="*/ 153611 h 305758"/>
                    <a:gd name="connsiteX11" fmla="*/ 65071 w 126566"/>
                    <a:gd name="connsiteY11" fmla="*/ 295788 h 305758"/>
                    <a:gd name="connsiteX12" fmla="*/ 65315 w 126566"/>
                    <a:gd name="connsiteY12" fmla="*/ 295788 h 305758"/>
                    <a:gd name="connsiteX13" fmla="*/ 116555 w 126566"/>
                    <a:gd name="connsiteY13" fmla="*/ 152121 h 305758"/>
                    <a:gd name="connsiteX14" fmla="*/ 98373 w 126566"/>
                    <a:gd name="connsiteY14" fmla="*/ 49587 h 305758"/>
                    <a:gd name="connsiteX15" fmla="*/ 61522 w 126566"/>
                    <a:gd name="connsiteY15" fmla="*/ 9944 h 305758"/>
                    <a:gd name="connsiteX16" fmla="*/ 61251 w 126566"/>
                    <a:gd name="connsiteY16" fmla="*/ 9944 h 305758"/>
                    <a:gd name="connsiteX17" fmla="*/ 25266 w 126566"/>
                    <a:gd name="connsiteY17" fmla="*/ 50617 h 305758"/>
                    <a:gd name="connsiteX18" fmla="*/ 10011 w 126566"/>
                    <a:gd name="connsiteY18" fmla="*/ 153611 h 305758"/>
                    <a:gd name="connsiteX19" fmla="*/ 10011 w 126566"/>
                    <a:gd name="connsiteY19" fmla="*/ 153611 h 30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6566" h="305758">
                      <a:moveTo>
                        <a:pt x="65071" y="305759"/>
                      </a:moveTo>
                      <a:cubicBezTo>
                        <a:pt x="29791" y="305759"/>
                        <a:pt x="1286" y="239183"/>
                        <a:pt x="39" y="153774"/>
                      </a:cubicBezTo>
                      <a:lnTo>
                        <a:pt x="39" y="153774"/>
                      </a:lnTo>
                      <a:cubicBezTo>
                        <a:pt x="-530" y="113671"/>
                        <a:pt x="5106" y="75790"/>
                        <a:pt x="15945" y="47121"/>
                      </a:cubicBezTo>
                      <a:cubicBezTo>
                        <a:pt x="27326" y="16990"/>
                        <a:pt x="43367" y="244"/>
                        <a:pt x="61115" y="0"/>
                      </a:cubicBezTo>
                      <a:cubicBezTo>
                        <a:pt x="61251" y="0"/>
                        <a:pt x="61386" y="0"/>
                        <a:pt x="61522" y="0"/>
                      </a:cubicBezTo>
                      <a:cubicBezTo>
                        <a:pt x="79107" y="0"/>
                        <a:pt x="95447" y="16258"/>
                        <a:pt x="107586" y="45821"/>
                      </a:cubicBezTo>
                      <a:cubicBezTo>
                        <a:pt x="119210" y="74164"/>
                        <a:pt x="125930" y="111882"/>
                        <a:pt x="126527" y="151985"/>
                      </a:cubicBezTo>
                      <a:cubicBezTo>
                        <a:pt x="127746" y="237719"/>
                        <a:pt x="100920" y="305271"/>
                        <a:pt x="65451" y="305759"/>
                      </a:cubicBezTo>
                      <a:cubicBezTo>
                        <a:pt x="65342" y="305759"/>
                        <a:pt x="65207" y="305759"/>
                        <a:pt x="65071" y="305759"/>
                      </a:cubicBezTo>
                      <a:close/>
                      <a:moveTo>
                        <a:pt x="10011" y="153611"/>
                      </a:moveTo>
                      <a:cubicBezTo>
                        <a:pt x="11230" y="238830"/>
                        <a:pt x="39411" y="295788"/>
                        <a:pt x="65071" y="295788"/>
                      </a:cubicBezTo>
                      <a:cubicBezTo>
                        <a:pt x="65153" y="295788"/>
                        <a:pt x="65234" y="295788"/>
                        <a:pt x="65315" y="295788"/>
                      </a:cubicBezTo>
                      <a:cubicBezTo>
                        <a:pt x="91030" y="295408"/>
                        <a:pt x="117774" y="237611"/>
                        <a:pt x="116555" y="152121"/>
                      </a:cubicBezTo>
                      <a:cubicBezTo>
                        <a:pt x="115986" y="113210"/>
                        <a:pt x="109537" y="76819"/>
                        <a:pt x="98373" y="49587"/>
                      </a:cubicBezTo>
                      <a:cubicBezTo>
                        <a:pt x="88022" y="24387"/>
                        <a:pt x="74609" y="9944"/>
                        <a:pt x="61522" y="9944"/>
                      </a:cubicBezTo>
                      <a:cubicBezTo>
                        <a:pt x="61440" y="9944"/>
                        <a:pt x="61359" y="9944"/>
                        <a:pt x="61251" y="9944"/>
                      </a:cubicBezTo>
                      <a:cubicBezTo>
                        <a:pt x="48082" y="10134"/>
                        <a:pt x="34967" y="24956"/>
                        <a:pt x="25266" y="50617"/>
                      </a:cubicBezTo>
                      <a:cubicBezTo>
                        <a:pt x="14888" y="78147"/>
                        <a:pt x="9469" y="114727"/>
                        <a:pt x="10011" y="153611"/>
                      </a:cubicBezTo>
                      <a:lnTo>
                        <a:pt x="10011" y="153611"/>
                      </a:lnTo>
                      <a:close/>
                    </a:path>
                  </a:pathLst>
                </a:custGeom>
                <a:grpFill/>
                <a:ln w="2705" cap="flat">
                  <a:noFill/>
                  <a:prstDash val="solid"/>
                  <a:miter/>
                </a:ln>
              </p:spPr>
              <p:txBody>
                <a:bodyPr rtlCol="0" anchor="ct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latin typeface="Arial" panose="020B0604020202020204" pitchFamily="34" charset="0"/>
                    <a:cs typeface="Arial" panose="020B0604020202020204" pitchFamily="34" charset="0"/>
                    <a:sym typeface="Arial" panose="020B0604020202020204" pitchFamily="34" charset="0"/>
                  </a:endParaRPr>
                </a:p>
              </p:txBody>
            </p:sp>
          </p:grpSp>
        </p:grpSp>
      </p:grpSp>
      <p:sp>
        <p:nvSpPr>
          <p:cNvPr id="19" name="Rechteck 4">
            <a:extLst>
              <a:ext uri="{FF2B5EF4-FFF2-40B4-BE49-F238E27FC236}">
                <a16:creationId xmlns:a16="http://schemas.microsoft.com/office/drawing/2014/main" id="{F8D69119-F271-55CA-9060-A743BD8EFD3D}"/>
              </a:ext>
            </a:extLst>
          </p:cNvPr>
          <p:cNvSpPr/>
          <p:nvPr/>
        </p:nvSpPr>
        <p:spPr>
          <a:xfrm flipH="1">
            <a:off x="700544" y="3971621"/>
            <a:ext cx="4988867" cy="887422"/>
          </a:xfrm>
          <a:custGeom>
            <a:avLst/>
            <a:gdLst>
              <a:gd name="connsiteX0" fmla="*/ 0 w 11668125"/>
              <a:gd name="connsiteY0" fmla="*/ 0 h 3606800"/>
              <a:gd name="connsiteX1" fmla="*/ 11668125 w 11668125"/>
              <a:gd name="connsiteY1" fmla="*/ 0 h 3606800"/>
              <a:gd name="connsiteX2" fmla="*/ 11668125 w 11668125"/>
              <a:gd name="connsiteY2" fmla="*/ 3606800 h 3606800"/>
              <a:gd name="connsiteX3" fmla="*/ 0 w 11668125"/>
              <a:gd name="connsiteY3" fmla="*/ 3606800 h 3606800"/>
              <a:gd name="connsiteX4" fmla="*/ 0 w 11668125"/>
              <a:gd name="connsiteY4" fmla="*/ 0 h 3606800"/>
              <a:gd name="connsiteX0" fmla="*/ 11668125 w 11759565"/>
              <a:gd name="connsiteY0" fmla="*/ 3606800 h 3698240"/>
              <a:gd name="connsiteX1" fmla="*/ 0 w 11759565"/>
              <a:gd name="connsiteY1" fmla="*/ 3606800 h 3698240"/>
              <a:gd name="connsiteX2" fmla="*/ 0 w 11759565"/>
              <a:gd name="connsiteY2" fmla="*/ 0 h 3698240"/>
              <a:gd name="connsiteX3" fmla="*/ 11668125 w 11759565"/>
              <a:gd name="connsiteY3" fmla="*/ 0 h 3698240"/>
              <a:gd name="connsiteX4" fmla="*/ 11759565 w 11759565"/>
              <a:gd name="connsiteY4" fmla="*/ 3698240 h 3698240"/>
              <a:gd name="connsiteX0" fmla="*/ 11668125 w 11668125"/>
              <a:gd name="connsiteY0" fmla="*/ 3606800 h 3606800"/>
              <a:gd name="connsiteX1" fmla="*/ 0 w 11668125"/>
              <a:gd name="connsiteY1" fmla="*/ 3606800 h 3606800"/>
              <a:gd name="connsiteX2" fmla="*/ 0 w 11668125"/>
              <a:gd name="connsiteY2" fmla="*/ 0 h 3606800"/>
              <a:gd name="connsiteX3" fmla="*/ 11668125 w 11668125"/>
              <a:gd name="connsiteY3" fmla="*/ 0 h 3606800"/>
            </a:gdLst>
            <a:ahLst/>
            <a:cxnLst>
              <a:cxn ang="0">
                <a:pos x="connsiteX0" y="connsiteY0"/>
              </a:cxn>
              <a:cxn ang="0">
                <a:pos x="connsiteX1" y="connsiteY1"/>
              </a:cxn>
              <a:cxn ang="0">
                <a:pos x="connsiteX2" y="connsiteY2"/>
              </a:cxn>
              <a:cxn ang="0">
                <a:pos x="connsiteX3" y="connsiteY3"/>
              </a:cxn>
            </a:cxnLst>
            <a:rect l="l" t="t" r="r" b="b"/>
            <a:pathLst>
              <a:path w="11668125" h="3606800">
                <a:moveTo>
                  <a:pt x="11668125" y="3606800"/>
                </a:moveTo>
                <a:lnTo>
                  <a:pt x="0" y="3606800"/>
                </a:lnTo>
                <a:lnTo>
                  <a:pt x="0" y="0"/>
                </a:lnTo>
                <a:lnTo>
                  <a:pt x="11668125" y="0"/>
                </a:lnTo>
              </a:path>
            </a:pathLst>
          </a:cu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800"/>
              </a:spcAft>
              <a:buClr>
                <a:srgbClr val="484848">
                  <a:lumMod val="60000"/>
                  <a:lumOff val="40000"/>
                </a:srgbClr>
              </a:buClr>
              <a:buSzTx/>
              <a:buFont typeface="Symbol" panose="05050102010706020507" pitchFamily="18" charset="2"/>
              <a:buNone/>
              <a:tabLst/>
              <a:defRPr/>
            </a:pPr>
            <a:endParaRPr lang="en-GB" sz="2000">
              <a:solidFill>
                <a:schemeClr val="bg2"/>
              </a:solidFill>
              <a:latin typeface="Roboto" panose="02000000000000000000" pitchFamily="2" charset="0"/>
              <a:ea typeface="Roboto" panose="02000000000000000000" pitchFamily="2" charset="0"/>
              <a:cs typeface="Roboto" panose="02000000000000000000" pitchFamily="2" charset="0"/>
              <a:sym typeface="Arial" panose="020B0604020202020204" pitchFamily="34" charset="0"/>
            </a:endParaRPr>
          </a:p>
          <a:p>
            <a:pPr lvl="0">
              <a:lnSpc>
                <a:spcPct val="110000"/>
              </a:lnSpc>
              <a:spcAft>
                <a:spcPts val="1800"/>
              </a:spcAft>
              <a:buClr>
                <a:srgbClr val="484848">
                  <a:lumMod val="60000"/>
                  <a:lumOff val="40000"/>
                </a:srgbClr>
              </a:buClr>
              <a:defRPr/>
            </a:pPr>
            <a:r>
              <a:rPr lang="en-US" sz="2000">
                <a:solidFill>
                  <a:srgbClr val="C00000"/>
                </a:solidFill>
                <a:latin typeface="Roboto" panose="02000000000000000000" pitchFamily="2" charset="0"/>
                <a:ea typeface="Roboto" panose="02000000000000000000" pitchFamily="2" charset="0"/>
                <a:cs typeface="Roboto" panose="02000000000000000000" pitchFamily="2" charset="0"/>
                <a:sym typeface="Arial" panose="020B0604020202020204" pitchFamily="34" charset="0"/>
              </a:rPr>
              <a:t>Creating </a:t>
            </a:r>
            <a:r>
              <a:rPr lang="en-US" sz="2000">
                <a:solidFill>
                  <a:schemeClr val="tx1"/>
                </a:solidFill>
                <a:latin typeface="Roboto" panose="02000000000000000000" pitchFamily="2" charset="0"/>
                <a:ea typeface="Roboto" panose="02000000000000000000" pitchFamily="2" charset="0"/>
                <a:cs typeface="Roboto" panose="02000000000000000000" pitchFamily="2" charset="0"/>
                <a:sym typeface="Arial" panose="020B0604020202020204" pitchFamily="34" charset="0"/>
              </a:rPr>
              <a:t>scalable systems and processes</a:t>
            </a:r>
            <a:endParaRPr lang="en-GB" sz="2000">
              <a:solidFill>
                <a:schemeClr val="tx1"/>
              </a:solidFill>
              <a:latin typeface="Roboto" panose="02000000000000000000" pitchFamily="2" charset="0"/>
              <a:ea typeface="Roboto" panose="02000000000000000000" pitchFamily="2" charset="0"/>
              <a:cs typeface="Roboto" panose="02000000000000000000" pitchFamily="2" charset="0"/>
              <a:sym typeface="Arial" panose="020B0604020202020204" pitchFamily="34" charset="0"/>
            </a:endParaRPr>
          </a:p>
        </p:txBody>
      </p:sp>
      <p:sp>
        <p:nvSpPr>
          <p:cNvPr id="102" name="Titel 101">
            <a:extLst>
              <a:ext uri="{FF2B5EF4-FFF2-40B4-BE49-F238E27FC236}">
                <a16:creationId xmlns:a16="http://schemas.microsoft.com/office/drawing/2014/main" id="{DE8C046E-A2A5-DB61-EFAE-5F2294494BBD}"/>
              </a:ext>
            </a:extLst>
          </p:cNvPr>
          <p:cNvSpPr>
            <a:spLocks noGrp="1"/>
          </p:cNvSpPr>
          <p:nvPr>
            <p:ph type="title"/>
          </p:nvPr>
        </p:nvSpPr>
        <p:spPr/>
        <p:txBody>
          <a:bodyPr/>
          <a:lstStyle/>
          <a:p>
            <a:r>
              <a:rPr lang="en-US">
                <a:latin typeface="Roboto"/>
                <a:ea typeface="Roboto"/>
                <a:cs typeface="Roboto"/>
              </a:rPr>
              <a:t>Principles of the EuroTeQ alliance</a:t>
            </a:r>
            <a:endParaRPr lang="nl-NL" b="0">
              <a:latin typeface="Roboto"/>
              <a:ea typeface="Roboto"/>
              <a:cs typeface="Roboto"/>
            </a:endParaRPr>
          </a:p>
          <a:p>
            <a:endParaRPr lang="nl-NL"/>
          </a:p>
        </p:txBody>
      </p:sp>
      <p:pic>
        <p:nvPicPr>
          <p:cNvPr id="7" name="Graphic 6" descr="Lights On outline">
            <a:extLst>
              <a:ext uri="{FF2B5EF4-FFF2-40B4-BE49-F238E27FC236}">
                <a16:creationId xmlns:a16="http://schemas.microsoft.com/office/drawing/2014/main" id="{7A621E57-94B2-EDBA-1452-D4B12A59A18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04993" y="3549056"/>
            <a:ext cx="860543" cy="860543"/>
          </a:xfrm>
          <a:prstGeom prst="rect">
            <a:avLst/>
          </a:prstGeom>
        </p:spPr>
      </p:pic>
      <p:sp>
        <p:nvSpPr>
          <p:cNvPr id="8" name="Rechteck 4">
            <a:extLst>
              <a:ext uri="{FF2B5EF4-FFF2-40B4-BE49-F238E27FC236}">
                <a16:creationId xmlns:a16="http://schemas.microsoft.com/office/drawing/2014/main" id="{1A782E37-43FF-FB58-A01D-082BE2624B7E}"/>
              </a:ext>
            </a:extLst>
          </p:cNvPr>
          <p:cNvSpPr/>
          <p:nvPr/>
        </p:nvSpPr>
        <p:spPr>
          <a:xfrm flipH="1">
            <a:off x="5991591" y="3965889"/>
            <a:ext cx="5427355" cy="887422"/>
          </a:xfrm>
          <a:custGeom>
            <a:avLst/>
            <a:gdLst>
              <a:gd name="connsiteX0" fmla="*/ 0 w 11668125"/>
              <a:gd name="connsiteY0" fmla="*/ 0 h 3606800"/>
              <a:gd name="connsiteX1" fmla="*/ 11668125 w 11668125"/>
              <a:gd name="connsiteY1" fmla="*/ 0 h 3606800"/>
              <a:gd name="connsiteX2" fmla="*/ 11668125 w 11668125"/>
              <a:gd name="connsiteY2" fmla="*/ 3606800 h 3606800"/>
              <a:gd name="connsiteX3" fmla="*/ 0 w 11668125"/>
              <a:gd name="connsiteY3" fmla="*/ 3606800 h 3606800"/>
              <a:gd name="connsiteX4" fmla="*/ 0 w 11668125"/>
              <a:gd name="connsiteY4" fmla="*/ 0 h 3606800"/>
              <a:gd name="connsiteX0" fmla="*/ 11668125 w 11759565"/>
              <a:gd name="connsiteY0" fmla="*/ 3606800 h 3698240"/>
              <a:gd name="connsiteX1" fmla="*/ 0 w 11759565"/>
              <a:gd name="connsiteY1" fmla="*/ 3606800 h 3698240"/>
              <a:gd name="connsiteX2" fmla="*/ 0 w 11759565"/>
              <a:gd name="connsiteY2" fmla="*/ 0 h 3698240"/>
              <a:gd name="connsiteX3" fmla="*/ 11668125 w 11759565"/>
              <a:gd name="connsiteY3" fmla="*/ 0 h 3698240"/>
              <a:gd name="connsiteX4" fmla="*/ 11759565 w 11759565"/>
              <a:gd name="connsiteY4" fmla="*/ 3698240 h 3698240"/>
              <a:gd name="connsiteX0" fmla="*/ 11668125 w 11668125"/>
              <a:gd name="connsiteY0" fmla="*/ 3606800 h 3606800"/>
              <a:gd name="connsiteX1" fmla="*/ 0 w 11668125"/>
              <a:gd name="connsiteY1" fmla="*/ 3606800 h 3606800"/>
              <a:gd name="connsiteX2" fmla="*/ 0 w 11668125"/>
              <a:gd name="connsiteY2" fmla="*/ 0 h 3606800"/>
              <a:gd name="connsiteX3" fmla="*/ 11668125 w 11668125"/>
              <a:gd name="connsiteY3" fmla="*/ 0 h 3606800"/>
            </a:gdLst>
            <a:ahLst/>
            <a:cxnLst>
              <a:cxn ang="0">
                <a:pos x="connsiteX0" y="connsiteY0"/>
              </a:cxn>
              <a:cxn ang="0">
                <a:pos x="connsiteX1" y="connsiteY1"/>
              </a:cxn>
              <a:cxn ang="0">
                <a:pos x="connsiteX2" y="connsiteY2"/>
              </a:cxn>
              <a:cxn ang="0">
                <a:pos x="connsiteX3" y="connsiteY3"/>
              </a:cxn>
            </a:cxnLst>
            <a:rect l="l" t="t" r="r" b="b"/>
            <a:pathLst>
              <a:path w="11668125" h="3606800">
                <a:moveTo>
                  <a:pt x="11668125" y="3606800"/>
                </a:moveTo>
                <a:lnTo>
                  <a:pt x="0" y="3606800"/>
                </a:lnTo>
                <a:lnTo>
                  <a:pt x="0" y="0"/>
                </a:lnTo>
                <a:lnTo>
                  <a:pt x="11668125" y="0"/>
                </a:lnTo>
              </a:path>
            </a:pathLst>
          </a:cu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800"/>
              </a:spcAft>
              <a:buClr>
                <a:srgbClr val="484848">
                  <a:lumMod val="60000"/>
                  <a:lumOff val="40000"/>
                </a:srgbClr>
              </a:buClr>
              <a:buSzTx/>
              <a:buFont typeface="Symbol" panose="05050102010706020507" pitchFamily="18" charset="2"/>
              <a:buNone/>
              <a:tabLst/>
              <a:defRPr/>
            </a:pPr>
            <a:endParaRPr lang="en-GB" sz="2000">
              <a:solidFill>
                <a:schemeClr val="bg2"/>
              </a:solidFill>
              <a:latin typeface="Roboto" panose="02000000000000000000" pitchFamily="2" charset="0"/>
              <a:ea typeface="Roboto" panose="02000000000000000000" pitchFamily="2" charset="0"/>
              <a:cs typeface="Roboto" panose="02000000000000000000" pitchFamily="2" charset="0"/>
              <a:sym typeface="Arial" panose="020B0604020202020204" pitchFamily="34" charset="0"/>
            </a:endParaRPr>
          </a:p>
          <a:p>
            <a:pPr lvl="0">
              <a:lnSpc>
                <a:spcPct val="110000"/>
              </a:lnSpc>
              <a:spcAft>
                <a:spcPts val="1800"/>
              </a:spcAft>
              <a:buClr>
                <a:srgbClr val="484848">
                  <a:lumMod val="60000"/>
                  <a:lumOff val="40000"/>
                </a:srgbClr>
              </a:buClr>
              <a:defRPr/>
            </a:pPr>
            <a:r>
              <a:rPr lang="en-US" sz="2000">
                <a:solidFill>
                  <a:srgbClr val="C00000"/>
                </a:solidFill>
                <a:latin typeface="Roboto" panose="02000000000000000000" pitchFamily="2" charset="0"/>
                <a:ea typeface="Roboto" panose="02000000000000000000" pitchFamily="2" charset="0"/>
                <a:cs typeface="Roboto" panose="02000000000000000000" pitchFamily="2" charset="0"/>
                <a:sym typeface="Arial" panose="020B0604020202020204" pitchFamily="34" charset="0"/>
              </a:rPr>
              <a:t>Building </a:t>
            </a:r>
            <a:r>
              <a:rPr lang="en-US" sz="2000">
                <a:solidFill>
                  <a:schemeClr val="tx1"/>
                </a:solidFill>
                <a:latin typeface="Roboto" panose="02000000000000000000" pitchFamily="2" charset="0"/>
                <a:ea typeface="Roboto" panose="02000000000000000000" pitchFamily="2" charset="0"/>
                <a:cs typeface="Roboto" panose="02000000000000000000" pitchFamily="2" charset="0"/>
                <a:sym typeface="Arial" panose="020B0604020202020204" pitchFamily="34" charset="0"/>
              </a:rPr>
              <a:t>on existing good practice</a:t>
            </a:r>
            <a:endParaRPr lang="en-GB" sz="2000">
              <a:solidFill>
                <a:schemeClr val="tx1"/>
              </a:solidFill>
              <a:latin typeface="Roboto" panose="02000000000000000000" pitchFamily="2" charset="0"/>
              <a:ea typeface="Roboto" panose="02000000000000000000" pitchFamily="2" charset="0"/>
              <a:cs typeface="Roboto" panose="02000000000000000000" pitchFamily="2" charset="0"/>
              <a:sym typeface="Arial" panose="020B0604020202020204" pitchFamily="34" charset="0"/>
            </a:endParaRPr>
          </a:p>
        </p:txBody>
      </p:sp>
    </p:spTree>
    <p:extLst>
      <p:ext uri="{BB962C8B-B14F-4D97-AF65-F5344CB8AC3E}">
        <p14:creationId xmlns:p14="http://schemas.microsoft.com/office/powerpoint/2010/main" val="231585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90CEE2-6282-3D9E-54EC-B494C82528D4}"/>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EB6E80CC-AB76-35F7-D234-9CB6F485DF27}"/>
              </a:ext>
            </a:extLst>
          </p:cNvPr>
          <p:cNvSpPr>
            <a:spLocks noGrp="1"/>
          </p:cNvSpPr>
          <p:nvPr>
            <p:ph type="title"/>
          </p:nvPr>
        </p:nvSpPr>
        <p:spPr/>
        <p:txBody>
          <a:bodyPr/>
          <a:lstStyle/>
          <a:p>
            <a:r>
              <a:rPr lang="en-GB"/>
              <a:t>Chapter green</a:t>
            </a:r>
          </a:p>
        </p:txBody>
      </p:sp>
      <p:sp>
        <p:nvSpPr>
          <p:cNvPr id="6" name="Tijdelijke aanduiding voor tekst 10">
            <a:extLst>
              <a:ext uri="{FF2B5EF4-FFF2-40B4-BE49-F238E27FC236}">
                <a16:creationId xmlns:a16="http://schemas.microsoft.com/office/drawing/2014/main" id="{3C421F9D-1C8D-6FE4-1739-996017086963}"/>
              </a:ext>
            </a:extLst>
          </p:cNvPr>
          <p:cNvSpPr txBox="1">
            <a:spLocks/>
          </p:cNvSpPr>
          <p:nvPr/>
        </p:nvSpPr>
        <p:spPr>
          <a:xfrm>
            <a:off x="193040" y="216852"/>
            <a:ext cx="11805920" cy="6424295"/>
          </a:xfrm>
          <a:prstGeom prst="roundRect">
            <a:avLst>
              <a:gd name="adj" fmla="val 3563"/>
            </a:avLst>
          </a:prstGeom>
          <a:solidFill>
            <a:schemeClr val="accent4"/>
          </a:solidFill>
        </p:spPr>
        <p:txBody>
          <a:bodyPr wrap="square">
            <a:noAutofit/>
          </a:bodyPr>
          <a:lstStyle>
            <a:lvl1pPr marL="0" indent="0" algn="l" defTabSz="914400" rtl="0" eaLnBrk="1" latinLnBrk="0" hangingPunct="1">
              <a:lnSpc>
                <a:spcPct val="90000"/>
              </a:lnSpc>
              <a:spcBef>
                <a:spcPts val="600"/>
              </a:spcBef>
              <a:spcAft>
                <a:spcPts val="600"/>
              </a:spcAft>
              <a:buClr>
                <a:schemeClr val="accent1"/>
              </a:buClr>
              <a:buSzPct val="110000"/>
              <a:buFont typeface="Aptos" panose="020B0004020202020204" pitchFamily="34" charset="0"/>
              <a:buNone/>
              <a:defRPr sz="100" kern="1200">
                <a:solidFill>
                  <a:schemeClr val="tx1"/>
                </a:solidFill>
                <a:latin typeface="+mn-lt"/>
                <a:ea typeface="+mn-ea"/>
                <a:cs typeface="+mn-cs"/>
              </a:defRPr>
            </a:lvl1pPr>
            <a:lvl2pPr marL="355600" indent="-177800" algn="l" defTabSz="914400" rtl="0" eaLnBrk="1" latinLnBrk="0" hangingPunct="1">
              <a:lnSpc>
                <a:spcPct val="90000"/>
              </a:lnSpc>
              <a:spcBef>
                <a:spcPts val="600"/>
              </a:spcBef>
              <a:spcAft>
                <a:spcPts val="600"/>
              </a:spcAft>
              <a:buClr>
                <a:schemeClr val="tx2"/>
              </a:buClr>
              <a:buFont typeface="Aptos" panose="020B0004020202020204" pitchFamily="34" charset="0"/>
              <a:buChar char="•"/>
              <a:tabLst/>
              <a:defRPr sz="1600" kern="1200">
                <a:solidFill>
                  <a:schemeClr val="tx1"/>
                </a:solidFill>
                <a:latin typeface="+mn-lt"/>
                <a:ea typeface="+mn-ea"/>
                <a:cs typeface="+mn-cs"/>
              </a:defRPr>
            </a:lvl2pPr>
            <a:lvl3pPr marL="531813" indent="-176213"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1600" kern="1200">
                <a:solidFill>
                  <a:schemeClr val="tx1"/>
                </a:solidFill>
                <a:latin typeface="+mn-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5"/>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2"/>
                </a:solidFill>
                <a:latin typeface="+mj-lt"/>
                <a:ea typeface="+mn-ea"/>
                <a:cs typeface="+mn-cs"/>
              </a:defRPr>
            </a:lvl6pPr>
            <a:lvl7pPr marL="342900" indent="-342900" algn="l" defTabSz="914400" rtl="0" eaLnBrk="1" latinLnBrk="0" hangingPunct="1">
              <a:lnSpc>
                <a:spcPct val="90000"/>
              </a:lnSpc>
              <a:spcBef>
                <a:spcPts val="600"/>
              </a:spcBef>
              <a:spcAft>
                <a:spcPts val="600"/>
              </a:spcAft>
              <a:buClr>
                <a:schemeClr val="tx2"/>
              </a:buClr>
              <a:buFont typeface="+mj-lt"/>
              <a:buAutoNum type="arabicPeriod"/>
              <a:tabLst/>
              <a:defRPr sz="1600" kern="1200">
                <a:solidFill>
                  <a:schemeClr val="tx1"/>
                </a:solidFill>
                <a:latin typeface="+mn-lt"/>
                <a:ea typeface="+mn-ea"/>
                <a:cs typeface="+mn-cs"/>
              </a:defRPr>
            </a:lvl7pPr>
            <a:lvl8pPr marL="342900" indent="-342900" algn="l" defTabSz="914400" rtl="0" eaLnBrk="1" latinLnBrk="0" hangingPunct="1">
              <a:lnSpc>
                <a:spcPct val="90000"/>
              </a:lnSpc>
              <a:spcBef>
                <a:spcPts val="600"/>
              </a:spcBef>
              <a:spcAft>
                <a:spcPts val="600"/>
              </a:spcAft>
              <a:buClr>
                <a:schemeClr val="tx2"/>
              </a:buClr>
              <a:buFont typeface="+mj-lt"/>
              <a:buAutoNum type="alphaLcPeriod"/>
              <a:defRPr sz="1600" kern="1200">
                <a:solidFill>
                  <a:schemeClr val="tx1"/>
                </a:solidFill>
                <a:latin typeface="+mn-lt"/>
                <a:ea typeface="+mn-ea"/>
                <a:cs typeface="+mn-cs"/>
              </a:defRPr>
            </a:lvl8pPr>
            <a:lvl9pPr marL="541338" indent="-180975" algn="l" defTabSz="914400" rtl="0" eaLnBrk="1" latinLnBrk="0" hangingPunct="1">
              <a:lnSpc>
                <a:spcPct val="90000"/>
              </a:lnSpc>
              <a:spcBef>
                <a:spcPts val="600"/>
              </a:spcBef>
              <a:spcAft>
                <a:spcPts val="600"/>
              </a:spcAft>
              <a:buClr>
                <a:schemeClr val="tx2"/>
              </a:buClr>
              <a:buFont typeface="Aptos" panose="020B0004020202020204" pitchFamily="34" charset="0"/>
              <a:buChar char="•"/>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F6DA44"/>
              </a:buClr>
              <a:buSzPct val="110000"/>
              <a:buFont typeface="Aptos" panose="020B0004020202020204" pitchFamily="34" charset="0"/>
              <a:buNone/>
              <a:tabLst/>
              <a:defRPr/>
            </a:pPr>
            <a:r>
              <a:rPr kumimoji="0" lang="en-GB" sz="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p>
        </p:txBody>
      </p:sp>
      <p:sp>
        <p:nvSpPr>
          <p:cNvPr id="10" name="Tekstvak 9">
            <a:extLst>
              <a:ext uri="{FF2B5EF4-FFF2-40B4-BE49-F238E27FC236}">
                <a16:creationId xmlns:a16="http://schemas.microsoft.com/office/drawing/2014/main" id="{F0D2AFD1-14B6-9301-813E-7E8B26262C02}"/>
              </a:ext>
            </a:extLst>
          </p:cNvPr>
          <p:cNvSpPr txBox="1"/>
          <p:nvPr/>
        </p:nvSpPr>
        <p:spPr>
          <a:xfrm>
            <a:off x="902978" y="2987073"/>
            <a:ext cx="9693303" cy="940292"/>
          </a:xfrm>
          <a:prstGeom prst="rect">
            <a:avLst/>
          </a:prstGeom>
          <a:noFill/>
        </p:spPr>
        <p:txBody>
          <a:bodyPr wrap="square" lIns="0" tIns="0" rIns="0" bIns="0" rtlCol="0" anchor="b">
            <a:noAutofit/>
          </a:bodyPr>
          <a:lstStyle/>
          <a:p>
            <a:pPr>
              <a:lnSpc>
                <a:spcPct val="80000"/>
              </a:lnSpc>
              <a:defRPr/>
            </a:pPr>
            <a:r>
              <a:rPr lang="en-GB" sz="6600" b="1">
                <a:solidFill>
                  <a:srgbClr val="FFFFFF"/>
                </a:solidFill>
              </a:rPr>
              <a:t>What is </a:t>
            </a:r>
            <a:r>
              <a:rPr lang="en-GB" sz="6600" b="1" err="1">
                <a:solidFill>
                  <a:srgbClr val="FFFFFF"/>
                </a:solidFill>
              </a:rPr>
              <a:t>eduXchange</a:t>
            </a:r>
            <a:r>
              <a:rPr lang="en-GB" sz="6600" b="1">
                <a:solidFill>
                  <a:srgbClr val="FFFFFF"/>
                </a:solidFill>
              </a:rPr>
              <a:t>?</a:t>
            </a:r>
            <a:endParaRPr lang="nl-NL" err="1">
              <a:ea typeface="+mn-ea"/>
              <a:cs typeface="+mn-cs"/>
            </a:endParaRPr>
          </a:p>
        </p:txBody>
      </p:sp>
      <p:sp>
        <p:nvSpPr>
          <p:cNvPr id="11" name="Tijdelijke aanduiding voor tekst 12">
            <a:extLst>
              <a:ext uri="{FF2B5EF4-FFF2-40B4-BE49-F238E27FC236}">
                <a16:creationId xmlns:a16="http://schemas.microsoft.com/office/drawing/2014/main" id="{3BBBA19D-2981-3AEC-FA9F-B54F54F44C53}"/>
              </a:ext>
            </a:extLst>
          </p:cNvPr>
          <p:cNvSpPr txBox="1">
            <a:spLocks/>
          </p:cNvSpPr>
          <p:nvPr/>
        </p:nvSpPr>
        <p:spPr>
          <a:xfrm>
            <a:off x="708207" y="3123000"/>
            <a:ext cx="36000" cy="612000"/>
          </a:xfrm>
          <a:custGeom>
            <a:avLst/>
            <a:gdLst>
              <a:gd name="connsiteX0" fmla="*/ 18000 w 36000"/>
              <a:gd name="connsiteY0" fmla="*/ 0 h 396000"/>
              <a:gd name="connsiteX1" fmla="*/ 36000 w 36000"/>
              <a:gd name="connsiteY1" fmla="*/ 18000 h 396000"/>
              <a:gd name="connsiteX2" fmla="*/ 36000 w 36000"/>
              <a:gd name="connsiteY2" fmla="*/ 378000 h 396000"/>
              <a:gd name="connsiteX3" fmla="*/ 18000 w 36000"/>
              <a:gd name="connsiteY3" fmla="*/ 396000 h 396000"/>
              <a:gd name="connsiteX4" fmla="*/ 0 w 36000"/>
              <a:gd name="connsiteY4" fmla="*/ 378000 h 396000"/>
              <a:gd name="connsiteX5" fmla="*/ 0 w 36000"/>
              <a:gd name="connsiteY5" fmla="*/ 18000 h 396000"/>
              <a:gd name="connsiteX6" fmla="*/ 18000 w 36000"/>
              <a:gd name="connsiteY6"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00" h="396000">
                <a:moveTo>
                  <a:pt x="18000" y="0"/>
                </a:moveTo>
                <a:cubicBezTo>
                  <a:pt x="27941" y="0"/>
                  <a:pt x="36000" y="8059"/>
                  <a:pt x="36000" y="18000"/>
                </a:cubicBezTo>
                <a:lnTo>
                  <a:pt x="36000" y="378000"/>
                </a:lnTo>
                <a:cubicBezTo>
                  <a:pt x="36000" y="387941"/>
                  <a:pt x="27941" y="396000"/>
                  <a:pt x="18000" y="396000"/>
                </a:cubicBezTo>
                <a:cubicBezTo>
                  <a:pt x="8059" y="396000"/>
                  <a:pt x="0" y="387941"/>
                  <a:pt x="0" y="378000"/>
                </a:cubicBezTo>
                <a:lnTo>
                  <a:pt x="0" y="18000"/>
                </a:lnTo>
                <a:cubicBezTo>
                  <a:pt x="0" y="8059"/>
                  <a:pt x="8059" y="0"/>
                  <a:pt x="18000" y="0"/>
                </a:cubicBezTo>
                <a:close/>
              </a:path>
            </a:pathLst>
          </a:custGeom>
          <a:solidFill>
            <a:schemeClr val="accent1"/>
          </a:solidFill>
        </p:spPr>
        <p:txBody>
          <a:bodyPr wrap="square">
            <a:noAutofit/>
          </a:bodyPr>
          <a:lstStyle>
            <a:lvl1pPr marL="0" indent="0" algn="l" defTabSz="914400" rtl="0" eaLnBrk="1" latinLnBrk="0" hangingPunct="1">
              <a:lnSpc>
                <a:spcPct val="90000"/>
              </a:lnSpc>
              <a:spcBef>
                <a:spcPts val="600"/>
              </a:spcBef>
              <a:spcAft>
                <a:spcPts val="600"/>
              </a:spcAft>
              <a:buClr>
                <a:schemeClr val="accent4"/>
              </a:buClr>
              <a:buSzPct val="100000"/>
              <a:buFontTx/>
              <a:buNone/>
              <a:defRPr sz="100" kern="1200">
                <a:solidFill>
                  <a:schemeClr val="tx1"/>
                </a:solidFill>
                <a:latin typeface="+mn-lt"/>
                <a:ea typeface="+mn-ea"/>
                <a:cs typeface="+mn-cs"/>
              </a:defRPr>
            </a:lvl1pPr>
            <a:lvl2pPr marL="0" indent="0" algn="l" defTabSz="914400" rtl="0" eaLnBrk="1" latinLnBrk="0" hangingPunct="1">
              <a:lnSpc>
                <a:spcPct val="90000"/>
              </a:lnSpc>
              <a:spcBef>
                <a:spcPts val="600"/>
              </a:spcBef>
              <a:spcAft>
                <a:spcPts val="600"/>
              </a:spcAft>
              <a:buClr>
                <a:schemeClr val="tx2"/>
              </a:buClr>
              <a:buFont typeface="Aptos" panose="020B0004020202020204" pitchFamily="34" charset="0"/>
              <a:buNone/>
              <a:tabLst/>
              <a:defRPr sz="1600" kern="1200">
                <a:solidFill>
                  <a:schemeClr val="tx1"/>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tx2"/>
              </a:buClr>
              <a:buFontTx/>
              <a:buNone/>
              <a:defRPr sz="2000" b="1" kern="1200">
                <a:solidFill>
                  <a:schemeClr val="accent3"/>
                </a:solidFill>
                <a:latin typeface="+mj-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2"/>
                </a:solidFill>
                <a:latin typeface="+mj-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4"/>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5"/>
                </a:solidFill>
                <a:latin typeface="+mj-lt"/>
                <a:ea typeface="+mn-ea"/>
                <a:cs typeface="+mn-cs"/>
              </a:defRPr>
            </a:lvl6pPr>
            <a:lvl7pPr marL="0" indent="0" algn="l" defTabSz="914400" rtl="0" eaLnBrk="1" latinLnBrk="0" hangingPunct="1">
              <a:lnSpc>
                <a:spcPct val="90000"/>
              </a:lnSpc>
              <a:spcBef>
                <a:spcPts val="600"/>
              </a:spcBef>
              <a:spcAft>
                <a:spcPts val="600"/>
              </a:spcAft>
              <a:buClr>
                <a:schemeClr val="tx2"/>
              </a:buClr>
              <a:buFontTx/>
              <a:buNone/>
              <a:tabLst/>
              <a:defRPr sz="1400" b="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Clr>
                <a:schemeClr val="tx2"/>
              </a:buClr>
              <a:buFontTx/>
              <a:buNone/>
              <a:defRPr sz="1800" b="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tx2"/>
              </a:buClr>
              <a:buFontTx/>
              <a:buNone/>
              <a:tabLst/>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E7303A"/>
              </a:buClr>
              <a:buSzPct val="100000"/>
              <a:buFontTx/>
              <a:buNone/>
              <a:tabLst/>
              <a:defRPr/>
            </a:pPr>
            <a:r>
              <a:rPr kumimoji="0" lang="en-GB" sz="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p>
        </p:txBody>
      </p:sp>
      <p:sp>
        <p:nvSpPr>
          <p:cNvPr id="15" name="Tijdelijke aanduiding voor tekst 15">
            <a:extLst>
              <a:ext uri="{FF2B5EF4-FFF2-40B4-BE49-F238E27FC236}">
                <a16:creationId xmlns:a16="http://schemas.microsoft.com/office/drawing/2014/main" id="{9E6531E1-DE99-638A-06E9-AAB26D6519B7}"/>
              </a:ext>
            </a:extLst>
          </p:cNvPr>
          <p:cNvSpPr txBox="1">
            <a:spLocks/>
          </p:cNvSpPr>
          <p:nvPr/>
        </p:nvSpPr>
        <p:spPr>
          <a:xfrm>
            <a:off x="720000" y="6060536"/>
            <a:ext cx="932400" cy="475200"/>
          </a:xfrm>
          <a:prstGeom prst="rect">
            <a:avLst/>
          </a:prstGeom>
          <a:blipFill>
            <a:blip r:embed="rId3"/>
            <a:stretch>
              <a:fillRect/>
            </a:stretch>
          </a:blipFill>
        </p:spPr>
        <p:txBody>
          <a:bodyPr/>
          <a:lstStyle>
            <a:lvl1pPr marL="0" indent="0" algn="l" defTabSz="914400" rtl="0" eaLnBrk="1" latinLnBrk="0" hangingPunct="1">
              <a:lnSpc>
                <a:spcPct val="90000"/>
              </a:lnSpc>
              <a:spcBef>
                <a:spcPts val="600"/>
              </a:spcBef>
              <a:spcAft>
                <a:spcPts val="600"/>
              </a:spcAft>
              <a:buClr>
                <a:schemeClr val="accent4"/>
              </a:buClr>
              <a:buSzPct val="100000"/>
              <a:buFontTx/>
              <a:buNone/>
              <a:defRPr sz="100" kern="1200">
                <a:solidFill>
                  <a:schemeClr val="tx1"/>
                </a:solidFill>
                <a:latin typeface="+mn-lt"/>
                <a:ea typeface="+mn-ea"/>
                <a:cs typeface="+mn-cs"/>
              </a:defRPr>
            </a:lvl1pPr>
            <a:lvl2pPr marL="0" indent="0" algn="l" defTabSz="914400" rtl="0" eaLnBrk="1" latinLnBrk="0" hangingPunct="1">
              <a:lnSpc>
                <a:spcPct val="90000"/>
              </a:lnSpc>
              <a:spcBef>
                <a:spcPts val="600"/>
              </a:spcBef>
              <a:spcAft>
                <a:spcPts val="600"/>
              </a:spcAft>
              <a:buClr>
                <a:schemeClr val="tx2"/>
              </a:buClr>
              <a:buFont typeface="Aptos" panose="020B0004020202020204" pitchFamily="34" charset="0"/>
              <a:buNone/>
              <a:tabLst/>
              <a:defRPr sz="1600" kern="1200">
                <a:solidFill>
                  <a:schemeClr val="tx1"/>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tx2"/>
              </a:buClr>
              <a:buFontTx/>
              <a:buNone/>
              <a:defRPr sz="2000" b="1" kern="1200">
                <a:solidFill>
                  <a:schemeClr val="accent3"/>
                </a:solidFill>
                <a:latin typeface="+mj-lt"/>
                <a:ea typeface="+mn-ea"/>
                <a:cs typeface="+mn-cs"/>
              </a:defRPr>
            </a:lvl3pPr>
            <a:lvl4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2"/>
                </a:solidFill>
                <a:latin typeface="+mj-lt"/>
                <a:ea typeface="+mn-ea"/>
                <a:cs typeface="+mn-cs"/>
              </a:defRPr>
            </a:lvl4pPr>
            <a:lvl5pPr marL="0" indent="0" algn="l" defTabSz="914400" rtl="0" eaLnBrk="1" latinLnBrk="0" hangingPunct="1">
              <a:lnSpc>
                <a:spcPct val="90000"/>
              </a:lnSpc>
              <a:spcBef>
                <a:spcPts val="600"/>
              </a:spcBef>
              <a:spcAft>
                <a:spcPts val="600"/>
              </a:spcAft>
              <a:buFont typeface="Aptos" panose="020B0004020202020204" pitchFamily="34" charset="0"/>
              <a:buNone/>
              <a:defRPr sz="2000" b="1" kern="1200">
                <a:solidFill>
                  <a:schemeClr val="accent4"/>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ptos" panose="020B0004020202020204" pitchFamily="34" charset="0"/>
              <a:buNone/>
              <a:defRPr sz="2000" b="1" i="0" kern="1200" cap="none" baseline="0">
                <a:solidFill>
                  <a:schemeClr val="accent5"/>
                </a:solidFill>
                <a:latin typeface="+mj-lt"/>
                <a:ea typeface="+mn-ea"/>
                <a:cs typeface="+mn-cs"/>
              </a:defRPr>
            </a:lvl6pPr>
            <a:lvl7pPr marL="0" indent="0" algn="l" defTabSz="914400" rtl="0" eaLnBrk="1" latinLnBrk="0" hangingPunct="1">
              <a:lnSpc>
                <a:spcPct val="90000"/>
              </a:lnSpc>
              <a:spcBef>
                <a:spcPts val="600"/>
              </a:spcBef>
              <a:spcAft>
                <a:spcPts val="600"/>
              </a:spcAft>
              <a:buClr>
                <a:schemeClr val="tx2"/>
              </a:buClr>
              <a:buFontTx/>
              <a:buNone/>
              <a:tabLst/>
              <a:defRPr sz="1400" b="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Clr>
                <a:schemeClr val="tx2"/>
              </a:buClr>
              <a:buFontTx/>
              <a:buNone/>
              <a:defRPr sz="1800" b="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tx2"/>
              </a:buClr>
              <a:buFontTx/>
              <a:buNone/>
              <a:tabLst/>
              <a:defRPr sz="1600" i="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E7303A"/>
              </a:buClr>
              <a:buSzPct val="100000"/>
              <a:buFontTx/>
              <a:buNone/>
              <a:tabLst/>
              <a:defRPr/>
            </a:pPr>
            <a:r>
              <a:rPr kumimoji="0" lang="en-GB" sz="100" b="0" i="0" u="none" strike="noStrike" kern="1200" cap="none" spc="0" normalizeH="0" baseline="0" noProof="0">
                <a:ln>
                  <a:noFill/>
                </a:ln>
                <a:solidFill>
                  <a:prstClr val="black"/>
                </a:solidFill>
                <a:effectLst/>
                <a:uLnTx/>
                <a:uFillTx/>
                <a:latin typeface="Aptos" panose="020B0004020202020204" pitchFamily="34" charset="0"/>
                <a:ea typeface="+mn-ea"/>
                <a:cs typeface="+mn-cs"/>
              </a:rPr>
              <a:t> </a:t>
            </a:r>
          </a:p>
        </p:txBody>
      </p:sp>
    </p:spTree>
    <p:extLst>
      <p:ext uri="{BB962C8B-B14F-4D97-AF65-F5344CB8AC3E}">
        <p14:creationId xmlns:p14="http://schemas.microsoft.com/office/powerpoint/2010/main" val="1250517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6GCijxjz1AoDZr02M0KKg"/>
</p:tagLst>
</file>

<file path=ppt/theme/theme1.xml><?xml version="1.0" encoding="utf-8"?>
<a:theme xmlns:a="http://schemas.openxmlformats.org/drawingml/2006/main" name="Template Slidebuilder - SURF ZI">
  <a:themeElements>
    <a:clrScheme name="SURF">
      <a:dk1>
        <a:srgbClr val="000000"/>
      </a:dk1>
      <a:lt1>
        <a:srgbClr val="FFFFFF"/>
      </a:lt1>
      <a:dk2>
        <a:srgbClr val="070809"/>
      </a:dk2>
      <a:lt2>
        <a:srgbClr val="FFFFFF"/>
      </a:lt2>
      <a:accent1>
        <a:srgbClr val="EE7628"/>
      </a:accent1>
      <a:accent2>
        <a:srgbClr val="F6DA44"/>
      </a:accent2>
      <a:accent3>
        <a:srgbClr val="177ABF"/>
      </a:accent3>
      <a:accent4>
        <a:srgbClr val="2CA055"/>
      </a:accent4>
      <a:accent5>
        <a:srgbClr val="7B2882"/>
      </a:accent5>
      <a:accent6>
        <a:srgbClr val="E7303A"/>
      </a:accent6>
      <a:hlink>
        <a:srgbClr val="CCCBCB"/>
      </a:hlink>
      <a:folHlink>
        <a:srgbClr val="211F26"/>
      </a:folHlink>
    </a:clrScheme>
    <a:fontScheme name="SURF">
      <a:majorFont>
        <a:latin typeface="Aptos"/>
        <a:ea typeface=""/>
        <a:cs typeface=""/>
      </a:majorFont>
      <a:minorFont>
        <a:latin typeface="Apt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44000" rIns="144000" bIns="144000" rtlCol="0" anchor="ctr"/>
      <a:lstStyle>
        <a:defPPr algn="ctr">
          <a:lnSpc>
            <a:spcPct val="90000"/>
          </a:lnSpc>
          <a:spcBef>
            <a:spcPts val="200"/>
          </a:spcBef>
          <a:spcAft>
            <a:spcPts val="200"/>
          </a:spcAft>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1"/>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90000"/>
          </a:lnSpc>
          <a:spcBef>
            <a:spcPts val="600"/>
          </a:spcBef>
          <a:spcAft>
            <a:spcPts val="600"/>
          </a:spcAft>
          <a:defRPr sz="16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ptos"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ptos"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a8eb2375-5202-461e-9ac6-f8673e0ce7e9" xsi:nil="true"/>
    <lcf76f155ced4ddcb4097134ff3c332f xmlns="dfe19f0c-c0de-47cc-8986-7212d4112775">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4AC937194C8574394A6F8EBC030B870" ma:contentTypeVersion="14" ma:contentTypeDescription="Create a new document." ma:contentTypeScope="" ma:versionID="5f733c1722c4a90f1c2f64d2e1d52386">
  <xsd:schema xmlns:xsd="http://www.w3.org/2001/XMLSchema" xmlns:xs="http://www.w3.org/2001/XMLSchema" xmlns:p="http://schemas.microsoft.com/office/2006/metadata/properties" xmlns:ns2="dfe19f0c-c0de-47cc-8986-7212d4112775" xmlns:ns3="a8eb2375-5202-461e-9ac6-f8673e0ce7e9" targetNamespace="http://schemas.microsoft.com/office/2006/metadata/properties" ma:root="true" ma:fieldsID="a32df31b39d73ce0df3727cf319a5b35" ns2:_="" ns3:_="">
    <xsd:import namespace="dfe19f0c-c0de-47cc-8986-7212d4112775"/>
    <xsd:import namespace="a8eb2375-5202-461e-9ac6-f8673e0ce7e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ObjectDetectorVersions" minOccurs="0"/>
                <xsd:element ref="ns2:MediaServiceSearchPropertie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fe19f0c-c0de-47cc-8986-7212d411277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5f80264a-99e7-47cd-820c-3e92ce78c5e0"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8eb2375-5202-461e-9ac6-f8673e0ce7e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bfe7bca8-48bc-4eb8-9403-4fe943d92024}" ma:internalName="TaxCatchAll" ma:showField="CatchAllData" ma:web="a8eb2375-5202-461e-9ac6-f8673e0ce7e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993785F-AE35-488D-B87A-96844FB47A80}">
  <ds:schemaRefs>
    <ds:schemaRef ds:uri="a8eb2375-5202-461e-9ac6-f8673e0ce7e9"/>
    <ds:schemaRef ds:uri="dfe19f0c-c0de-47cc-8986-7212d4112775"/>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F0213F54-B4AE-47ED-BC7E-39B7F5C886D2}">
  <ds:schemaRefs>
    <ds:schemaRef ds:uri="a8eb2375-5202-461e-9ac6-f8673e0ce7e9"/>
    <ds:schemaRef ds:uri="dfe19f0c-c0de-47cc-8986-7212d411277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3BBDD7E-E6EA-450F-B7A4-C1776A538DA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976</Words>
  <Application>Microsoft Macintosh PowerPoint</Application>
  <PresentationFormat>Widescreen</PresentationFormat>
  <Paragraphs>191</Paragraphs>
  <Slides>27</Slides>
  <Notes>1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27</vt:i4>
      </vt:variant>
    </vt:vector>
  </HeadingPairs>
  <TitlesOfParts>
    <vt:vector size="39" baseType="lpstr">
      <vt:lpstr>Aptos</vt:lpstr>
      <vt:lpstr>Arial</vt:lpstr>
      <vt:lpstr>Arial,Sans-Serif</vt:lpstr>
      <vt:lpstr>Calibri</vt:lpstr>
      <vt:lpstr>Calibri Light</vt:lpstr>
      <vt:lpstr>Open Sans</vt:lpstr>
      <vt:lpstr>Roboto</vt:lpstr>
      <vt:lpstr>Segoe UI Light</vt:lpstr>
      <vt:lpstr>Symbol</vt:lpstr>
      <vt:lpstr>Template Slidebuilder - SURF ZI</vt:lpstr>
      <vt:lpstr>think-cell Slide</vt:lpstr>
      <vt:lpstr>oleObj</vt:lpstr>
      <vt:lpstr>Title slide</vt:lpstr>
      <vt:lpstr>Introduction</vt:lpstr>
      <vt:lpstr>Agenda</vt:lpstr>
      <vt:lpstr>Chapter blue</vt:lpstr>
      <vt:lpstr>What is EuroTeQ?</vt:lpstr>
      <vt:lpstr>PowerPoint Presentation</vt:lpstr>
      <vt:lpstr>What is EuroTeQ?</vt:lpstr>
      <vt:lpstr>Principles of the EuroTeQ alliance </vt:lpstr>
      <vt:lpstr>Chapter green</vt:lpstr>
      <vt:lpstr>What is eduXchange</vt:lpstr>
      <vt:lpstr>Designing eduXchange</vt:lpstr>
      <vt:lpstr>eduXchange.nl components</vt:lpstr>
      <vt:lpstr>eduXchange.nl -&gt; europe</vt:lpstr>
      <vt:lpstr>eduXchange.nl -&gt; europe</vt:lpstr>
      <vt:lpstr>Chapter yellow</vt:lpstr>
      <vt:lpstr>PowerPoint Presentation</vt:lpstr>
      <vt:lpstr>PowerPoint Presentation</vt:lpstr>
      <vt:lpstr>Automating enrolment</vt:lpstr>
      <vt:lpstr>Chapter green</vt:lpstr>
      <vt:lpstr>Process so far</vt:lpstr>
      <vt:lpstr>Hackathons</vt:lpstr>
      <vt:lpstr>Chapter orange</vt:lpstr>
      <vt:lpstr>Lessons learned</vt:lpstr>
      <vt:lpstr>Chapter blue</vt:lpstr>
      <vt:lpstr>Other interested EU Alliances</vt:lpstr>
      <vt:lpstr>What’s next?</vt:lpstr>
      <vt:lpstr>Closing sli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Eline Schoe</dc:creator>
  <cp:lastModifiedBy>Nicole Harris</cp:lastModifiedBy>
  <cp:revision>4</cp:revision>
  <dcterms:created xsi:type="dcterms:W3CDTF">2018-03-15T13:05:51Z</dcterms:created>
  <dcterms:modified xsi:type="dcterms:W3CDTF">2025-06-03T13:26: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6499642</vt:lpwstr>
  </property>
  <property fmtid="{D5CDD505-2E9C-101B-9397-08002B2CF9AE}" pid="3" name="NXPowerLiteSettings">
    <vt:lpwstr>C980073804F000</vt:lpwstr>
  </property>
  <property fmtid="{D5CDD505-2E9C-101B-9397-08002B2CF9AE}" pid="4" name="NXPowerLiteVersion">
    <vt:lpwstr>D8.0.4</vt:lpwstr>
  </property>
  <property fmtid="{D5CDD505-2E9C-101B-9397-08002B2CF9AE}" pid="5" name="ContentTypeId">
    <vt:lpwstr>0x010100B4AC937194C8574394A6F8EBC030B870</vt:lpwstr>
  </property>
  <property fmtid="{D5CDD505-2E9C-101B-9397-08002B2CF9AE}" pid="6" name="MediaServiceImageTags">
    <vt:lpwstr/>
  </property>
</Properties>
</file>